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3">
  <p:sldMasterIdLst>
    <p:sldMasterId id="2147483889" r:id="rId1"/>
  </p:sldMasterIdLst>
  <p:notesMasterIdLst>
    <p:notesMasterId r:id="rId18"/>
  </p:notesMasterIdLst>
  <p:handoutMasterIdLst>
    <p:handoutMasterId r:id="rId19"/>
  </p:handoutMasterIdLst>
  <p:sldIdLst>
    <p:sldId id="1349" r:id="rId2"/>
    <p:sldId id="1384" r:id="rId3"/>
    <p:sldId id="1399" r:id="rId4"/>
    <p:sldId id="1377" r:id="rId5"/>
    <p:sldId id="1385" r:id="rId6"/>
    <p:sldId id="1398" r:id="rId7"/>
    <p:sldId id="1386" r:id="rId8"/>
    <p:sldId id="1355" r:id="rId9"/>
    <p:sldId id="1391" r:id="rId10"/>
    <p:sldId id="1360" r:id="rId11"/>
    <p:sldId id="1397" r:id="rId12"/>
    <p:sldId id="1378" r:id="rId13"/>
    <p:sldId id="1362" r:id="rId14"/>
    <p:sldId id="1363" r:id="rId15"/>
    <p:sldId id="1392" r:id="rId16"/>
    <p:sldId id="1366" r:id="rId17"/>
  </p:sldIdLst>
  <p:sldSz cx="12599988" cy="8640763"/>
  <p:notesSz cx="6724650" cy="987425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9191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8383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7574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6765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5957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875148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354339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833531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990" userDrawn="1">
          <p15:clr>
            <a:srgbClr val="A4A3A4"/>
          </p15:clr>
        </p15:guide>
        <p15:guide id="2" orient="horz" pos="1133" userDrawn="1">
          <p15:clr>
            <a:srgbClr val="A4A3A4"/>
          </p15:clr>
        </p15:guide>
        <p15:guide id="3" orient="horz" pos="4848" userDrawn="1">
          <p15:clr>
            <a:srgbClr val="A4A3A4"/>
          </p15:clr>
        </p15:guide>
        <p15:guide id="4" orient="horz" pos="436" userDrawn="1">
          <p15:clr>
            <a:srgbClr val="A4A3A4"/>
          </p15:clr>
        </p15:guide>
        <p15:guide id="5" orient="horz" pos="669" userDrawn="1">
          <p15:clr>
            <a:srgbClr val="A4A3A4"/>
          </p15:clr>
        </p15:guide>
        <p15:guide id="6" orient="horz" pos="1829" userDrawn="1">
          <p15:clr>
            <a:srgbClr val="A4A3A4"/>
          </p15:clr>
        </p15:guide>
        <p15:guide id="7" pos="229" userDrawn="1">
          <p15:clr>
            <a:srgbClr val="A4A3A4"/>
          </p15:clr>
        </p15:guide>
        <p15:guide id="8" pos="4673" userDrawn="1">
          <p15:clr>
            <a:srgbClr val="A4A3A4"/>
          </p15:clr>
        </p15:guide>
        <p15:guide id="9" pos="1626" userDrawn="1">
          <p15:clr>
            <a:srgbClr val="A4A3A4"/>
          </p15:clr>
        </p15:guide>
        <p15:guide id="10" pos="2799" userDrawn="1">
          <p15:clr>
            <a:srgbClr val="A4A3A4"/>
          </p15:clr>
        </p15:guide>
        <p15:guide id="11" pos="7720" userDrawn="1">
          <p15:clr>
            <a:srgbClr val="A4A3A4"/>
          </p15:clr>
        </p15:guide>
        <p15:guide id="12" pos="454" userDrawn="1">
          <p15:clr>
            <a:srgbClr val="A4A3A4"/>
          </p15:clr>
        </p15:guide>
        <p15:guide id="13" pos="929" userDrawn="1">
          <p15:clr>
            <a:srgbClr val="A4A3A4"/>
          </p15:clr>
        </p15:guide>
        <p15:guide id="14" pos="467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10">
          <p15:clr>
            <a:srgbClr val="A4A3A4"/>
          </p15:clr>
        </p15:guide>
        <p15:guide id="2" pos="211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vova" initials="AL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E79"/>
    <a:srgbClr val="E7F5FE"/>
    <a:srgbClr val="00A1DE"/>
    <a:srgbClr val="FCD7B9"/>
    <a:srgbClr val="3C8A2E"/>
    <a:srgbClr val="72C7E7"/>
    <a:srgbClr val="F5750B"/>
    <a:srgbClr val="FFFFFF"/>
    <a:srgbClr val="0070C0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000" autoAdjust="0"/>
    <p:restoredTop sz="87209" autoAdjust="0"/>
  </p:normalViewPr>
  <p:slideViewPr>
    <p:cSldViewPr snapToGrid="0" showGuides="1">
      <p:cViewPr>
        <p:scale>
          <a:sx n="96" d="100"/>
          <a:sy n="96" d="100"/>
        </p:scale>
        <p:origin x="-1230" y="-36"/>
      </p:cViewPr>
      <p:guideLst>
        <p:guide orient="horz" pos="2990"/>
        <p:guide orient="horz" pos="1133"/>
        <p:guide orient="horz" pos="4848"/>
        <p:guide orient="horz" pos="436"/>
        <p:guide orient="horz" pos="669"/>
        <p:guide orient="horz" pos="1829"/>
        <p:guide pos="229"/>
        <p:guide pos="4673"/>
        <p:guide pos="1626"/>
        <p:guide pos="2799"/>
        <p:guide pos="7720"/>
        <p:guide pos="454"/>
        <p:guide pos="929"/>
        <p:guide pos="467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howGuides="1">
      <p:cViewPr varScale="1">
        <p:scale>
          <a:sx n="53" d="100"/>
          <a:sy n="53" d="100"/>
        </p:scale>
        <p:origin x="-2580" y="-90"/>
      </p:cViewPr>
      <p:guideLst>
        <p:guide orient="horz" pos="3110"/>
        <p:guide pos="2117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ED6E543-D1E5-49FA-8209-021D517975D8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37AB23B-13B0-4AE3-924E-BFAE5EAE00A9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820383" y="243260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емщик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9F77678-62E8-4A19-A41A-E19A68EAA443}" type="parTrans" cxnId="{CF1C8B41-3EE3-49BA-87CA-7C17A540720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DEF7991-DB3B-4EFB-B409-20A96B442569}" type="sibTrans" cxnId="{CF1C8B41-3EE3-49BA-87CA-7C17A5407209}">
      <dgm:prSet/>
      <dgm:spPr>
        <a:xfrm>
          <a:off x="1431323" y="1887774"/>
          <a:ext cx="1566254" cy="1566254"/>
        </a:xfrm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214BA6D-6E14-4C83-A785-B4FF1581D05E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2701236" y="103048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31F2735-C458-4AA1-88E7-CD44B12E69A7}" type="parTrans" cxnId="{3CA67ACF-7279-4B62-AA0F-285F8222466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9A2954C-5C74-4380-B53D-3134DFD2BD93}" type="sibTrans" cxnId="{3CA67ACF-7279-4B62-AA0F-285F82224669}">
      <dgm:prSet/>
      <dgm:spPr>
        <a:xfrm>
          <a:off x="3299270" y="559887"/>
          <a:ext cx="1764140" cy="1764140"/>
        </a:xfrm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11B4F7-8BC9-47D7-9642-A633630B2A46}">
      <dgm:prSet phldrT="[Текст]" custT="1"/>
      <dgm:spPr>
        <a:xfrm>
          <a:off x="2404636" y="1330940"/>
          <a:ext cx="1633331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кредита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8D5408A1-1638-4F9F-AA8B-CC4D59B50ACA}" type="par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C37A6F-9EFF-487C-B57D-353931C1D383}" type="sib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BA94C8C-63E7-4819-9483-BDD6924D3746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4584915" y="243260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4F14D56A-292C-4BF3-8983-5BC9A05A7FFB}" type="par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C901A8-7DD6-4DD3-B25E-FEE59C9B66D4}" type="sib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A8884EC-BED0-4A5D-9FB1-F77856440A7A}">
      <dgm:prSet phldrT="[Текст]" custT="1"/>
      <dgm:spPr>
        <a:xfrm>
          <a:off x="2404636" y="1330940"/>
          <a:ext cx="1633331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акет документов Клиента в Корпорацию для получения гарантии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27D65953-E682-4B97-ACB4-A58EB1A1359A}" type="par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4FD3ACB-92D8-44FF-B568-32BD884EDF42}" type="sib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526FAA-63B2-4ADE-AAB0-F298E6F23F64}">
      <dgm:prSet phldrT="[Текст]"/>
      <dgm:spPr>
        <a:xfrm>
          <a:off x="515375" y="1330940"/>
          <a:ext cx="1605196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003CB98F-C436-430F-8E2B-DFED7A3DE3CA}" type="parTrans" cxnId="{F3B1C539-6EB3-49AC-9439-6E0ACBED773E}">
      <dgm:prSet/>
      <dgm:spPr/>
      <dgm:t>
        <a:bodyPr/>
        <a:lstStyle/>
        <a:p>
          <a:endParaRPr lang="ru-RU"/>
        </a:p>
      </dgm:t>
    </dgm:pt>
    <dgm:pt modelId="{05924E85-815B-4F4E-9231-7F0B8C8D17BB}" type="sibTrans" cxnId="{F3B1C539-6EB3-49AC-9439-6E0ACBED773E}">
      <dgm:prSet/>
      <dgm:spPr/>
      <dgm:t>
        <a:bodyPr/>
        <a:lstStyle/>
        <a:p>
          <a:endParaRPr lang="ru-RU"/>
        </a:p>
      </dgm:t>
    </dgm:pt>
    <dgm:pt modelId="{D9C4D902-BD1F-4A38-B8A5-AB2B58925766}">
      <dgm:prSet phldrT="[Текст]" custT="1"/>
      <dgm:spPr>
        <a:xfrm>
          <a:off x="515375" y="1330940"/>
          <a:ext cx="1605196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Банк с заявкой на получение кредита</a:t>
          </a:r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6FA57C59-A309-4D0D-88DF-DC1A1B0F2401}" type="parTrans" cxnId="{198CF78B-BDB6-469D-B9D7-589B4394544F}">
      <dgm:prSet/>
      <dgm:spPr/>
      <dgm:t>
        <a:bodyPr/>
        <a:lstStyle/>
        <a:p>
          <a:endParaRPr lang="ru-RU"/>
        </a:p>
      </dgm:t>
    </dgm:pt>
    <dgm:pt modelId="{BB764740-97CF-4534-BF55-6E66EE5E3312}" type="sibTrans" cxnId="{198CF78B-BDB6-469D-B9D7-589B4394544F}">
      <dgm:prSet/>
      <dgm:spPr/>
      <dgm:t>
        <a:bodyPr/>
        <a:lstStyle/>
        <a:p>
          <a:endParaRPr lang="ru-RU"/>
        </a:p>
      </dgm:t>
    </dgm:pt>
    <dgm:pt modelId="{63B2E526-0BFE-4FA5-A8D7-298406FAE965}">
      <dgm:prSet phldrT="[Текст]"/>
      <dgm:spPr>
        <a:xfrm>
          <a:off x="4345092" y="1330940"/>
          <a:ext cx="1480503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57A5F5D4-98C2-4C16-9F39-F6287D891ABE}" type="parTrans" cxnId="{15E9255D-F264-4FF3-A457-4FE4DFA7BC18}">
      <dgm:prSet/>
      <dgm:spPr/>
      <dgm:t>
        <a:bodyPr/>
        <a:lstStyle/>
        <a:p>
          <a:endParaRPr lang="ru-RU"/>
        </a:p>
      </dgm:t>
    </dgm:pt>
    <dgm:pt modelId="{1E4685F7-B719-48A5-8C55-EDBA33AD99D6}" type="sibTrans" cxnId="{15E9255D-F264-4FF3-A457-4FE4DFA7BC18}">
      <dgm:prSet/>
      <dgm:spPr/>
      <dgm:t>
        <a:bodyPr/>
        <a:lstStyle/>
        <a:p>
          <a:endParaRPr lang="ru-RU"/>
        </a:p>
      </dgm:t>
    </dgm:pt>
    <dgm:pt modelId="{01D23FA9-EC24-4459-84B6-F0EA42D78154}">
      <dgm:prSet phldrT="[Текст]" custT="1"/>
      <dgm:spPr>
        <a:xfrm>
          <a:off x="4345092" y="1330940"/>
          <a:ext cx="1480503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гарантии</a:t>
          </a:r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1EAFB972-9367-44F6-B75E-CAD6F4A9855C}" type="parTrans" cxnId="{3EE9A413-4839-4763-919B-12467B3A636F}">
      <dgm:prSet/>
      <dgm:spPr/>
      <dgm:t>
        <a:bodyPr/>
        <a:lstStyle/>
        <a:p>
          <a:endParaRPr lang="ru-RU"/>
        </a:p>
      </dgm:t>
    </dgm:pt>
    <dgm:pt modelId="{FCF1BCA6-0B6D-40E7-A1D4-8FBB7ED152A2}" type="sibTrans" cxnId="{3EE9A413-4839-4763-919B-12467B3A636F}">
      <dgm:prSet/>
      <dgm:spPr/>
      <dgm:t>
        <a:bodyPr/>
        <a:lstStyle/>
        <a:p>
          <a:endParaRPr lang="ru-RU"/>
        </a:p>
      </dgm:t>
    </dgm:pt>
    <dgm:pt modelId="{625D5B61-73EB-4687-B366-E6F70F0FDF74}" type="pres">
      <dgm:prSet presAssocID="{AED6E543-D1E5-49FA-8209-021D517975D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AB74C41-EE21-414F-B880-C91960AE5EC4}" type="pres">
      <dgm:prSet presAssocID="{AED6E543-D1E5-49FA-8209-021D517975D8}" presName="tSp" presStyleCnt="0"/>
      <dgm:spPr/>
    </dgm:pt>
    <dgm:pt modelId="{BC05A9D6-CA71-4512-9D58-2019022C136A}" type="pres">
      <dgm:prSet presAssocID="{AED6E543-D1E5-49FA-8209-021D517975D8}" presName="bSp" presStyleCnt="0"/>
      <dgm:spPr/>
    </dgm:pt>
    <dgm:pt modelId="{901CFE09-8308-4CB6-B42D-B87DA4DB62C7}" type="pres">
      <dgm:prSet presAssocID="{AED6E543-D1E5-49FA-8209-021D517975D8}" presName="process" presStyleCnt="0"/>
      <dgm:spPr/>
    </dgm:pt>
    <dgm:pt modelId="{574BB2E0-F6FB-4BB5-8728-33C0181856D8}" type="pres">
      <dgm:prSet presAssocID="{437AB23B-13B0-4AE3-924E-BFAE5EAE00A9}" presName="composite1" presStyleCnt="0"/>
      <dgm:spPr/>
    </dgm:pt>
    <dgm:pt modelId="{324361FE-5E04-4D56-84CD-3FBAD654CDE0}" type="pres">
      <dgm:prSet presAssocID="{437AB23B-13B0-4AE3-924E-BFAE5EAE00A9}" presName="dummyNode1" presStyleLbl="node1" presStyleIdx="0" presStyleCnt="3"/>
      <dgm:spPr/>
    </dgm:pt>
    <dgm:pt modelId="{358BADB0-A89A-48CE-B619-DA3839D44E0F}" type="pres">
      <dgm:prSet presAssocID="{437AB23B-13B0-4AE3-924E-BFAE5EAE00A9}" presName="childNode1" presStyleLbl="bgAcc1" presStyleIdx="0" presStyleCnt="3" custScaleX="76970" custLinFactNeighborX="275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4CE7E4B-B570-41DA-97BE-9F7D5574F4E3}" type="pres">
      <dgm:prSet presAssocID="{437AB23B-13B0-4AE3-924E-BFAE5EAE00A9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FFF5994-F4E1-424D-B972-4AA99AE9B8C2}" type="pres">
      <dgm:prSet presAssocID="{437AB23B-13B0-4AE3-924E-BFAE5EAE00A9}" presName="parentNode1" presStyleLbl="node1" presStyleIdx="0" presStyleCnt="3" custLinFactNeighborX="2928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268AAC0-5B1D-4FF2-A23A-A4120CB7760F}" type="pres">
      <dgm:prSet presAssocID="{437AB23B-13B0-4AE3-924E-BFAE5EAE00A9}" presName="connSite1" presStyleCnt="0"/>
      <dgm:spPr/>
    </dgm:pt>
    <dgm:pt modelId="{F827665D-69F4-4582-BEB2-A5794CA30A06}" type="pres">
      <dgm:prSet presAssocID="{4DEF7991-DB3B-4EFB-B409-20A96B442569}" presName="Name9" presStyleLbl="sibTrans2D1" presStyleIdx="0" presStyleCnt="2"/>
      <dgm:spPr/>
      <dgm:t>
        <a:bodyPr/>
        <a:lstStyle/>
        <a:p>
          <a:endParaRPr lang="ru-RU"/>
        </a:p>
      </dgm:t>
    </dgm:pt>
    <dgm:pt modelId="{0FDFAFA8-BEF1-4EA4-AABF-56E29002ACCE}" type="pres">
      <dgm:prSet presAssocID="{E214BA6D-6E14-4C83-A785-B4FF1581D05E}" presName="composite2" presStyleCnt="0"/>
      <dgm:spPr/>
    </dgm:pt>
    <dgm:pt modelId="{1406CEDF-8E1C-46FB-9CFF-1DA3A113C7FE}" type="pres">
      <dgm:prSet presAssocID="{E214BA6D-6E14-4C83-A785-B4FF1581D05E}" presName="dummyNode2" presStyleLbl="node1" presStyleIdx="0" presStyleCnt="3"/>
      <dgm:spPr/>
    </dgm:pt>
    <dgm:pt modelId="{86DDBEE2-8B91-44ED-B629-4631F9E18A12}" type="pres">
      <dgm:prSet presAssocID="{E214BA6D-6E14-4C83-A785-B4FF1581D05E}" presName="childNode2" presStyleLbl="bgAcc1" presStyleIdx="1" presStyleCnt="3" custScaleX="131358" custLinFactNeighborX="96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E3F8E3-8C1C-421D-98A7-8FA69EF747B1}" type="pres">
      <dgm:prSet presAssocID="{E214BA6D-6E14-4C83-A785-B4FF1581D05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8F92D0-DEF2-4832-8FA1-278D95B6B3A0}" type="pres">
      <dgm:prSet presAssocID="{E214BA6D-6E14-4C83-A785-B4FF1581D05E}" presName="parentNode2" presStyleLbl="node1" presStyleIdx="1" presStyleCnt="3" custLinFactNeighborX="766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DC6411-C29A-4982-8684-1D1BFC24E8FE}" type="pres">
      <dgm:prSet presAssocID="{E214BA6D-6E14-4C83-A785-B4FF1581D05E}" presName="connSite2" presStyleCnt="0"/>
      <dgm:spPr/>
    </dgm:pt>
    <dgm:pt modelId="{CDCAD455-EB6B-402B-B181-8BA63311810D}" type="pres">
      <dgm:prSet presAssocID="{19A2954C-5C74-4380-B53D-3134DFD2BD93}" presName="Name18" presStyleLbl="sibTrans2D1" presStyleIdx="1" presStyleCnt="2"/>
      <dgm:spPr/>
      <dgm:t>
        <a:bodyPr/>
        <a:lstStyle/>
        <a:p>
          <a:endParaRPr lang="ru-RU"/>
        </a:p>
      </dgm:t>
    </dgm:pt>
    <dgm:pt modelId="{F894E1F7-CE39-4E50-B696-64D75C9AA8FE}" type="pres">
      <dgm:prSet presAssocID="{4BA94C8C-63E7-4819-9483-BDD6924D3746}" presName="composite1" presStyleCnt="0"/>
      <dgm:spPr/>
    </dgm:pt>
    <dgm:pt modelId="{E1925DF0-50A4-41B2-A5A0-A320ADC8C4E2}" type="pres">
      <dgm:prSet presAssocID="{4BA94C8C-63E7-4819-9483-BDD6924D3746}" presName="dummyNode1" presStyleLbl="node1" presStyleIdx="1" presStyleCnt="3"/>
      <dgm:spPr/>
    </dgm:pt>
    <dgm:pt modelId="{F32D151A-7816-4D8F-AF44-C36440897AD6}" type="pres">
      <dgm:prSet presAssocID="{4BA94C8C-63E7-4819-9483-BDD6924D3746}" presName="childNode1" presStyleLbl="bgAcc1" presStyleIdx="2" presStyleCnt="3" custScaleX="84064" custLinFactNeighborX="719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A5E6DB2-5944-4C01-A9F4-4A069AB36B67}" type="pres">
      <dgm:prSet presAssocID="{4BA94C8C-63E7-4819-9483-BDD6924D3746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BF8A00-5694-4464-90D9-1154141BC261}" type="pres">
      <dgm:prSet presAssocID="{4BA94C8C-63E7-4819-9483-BDD6924D3746}" presName="parentNode1" presStyleLbl="node1" presStyleIdx="2" presStyleCnt="3" custLinFactNeighborX="187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14686AA-5AC4-408F-9ACA-399D799902FE}" type="pres">
      <dgm:prSet presAssocID="{4BA94C8C-63E7-4819-9483-BDD6924D3746}" presName="connSite1" presStyleCnt="0"/>
      <dgm:spPr/>
    </dgm:pt>
  </dgm:ptLst>
  <dgm:cxnLst>
    <dgm:cxn modelId="{9B38B6DE-04C6-4C12-ADCE-BBE11D2B3F4C}" srcId="{E214BA6D-6E14-4C83-A785-B4FF1581D05E}" destId="{A911B4F7-8BC9-47D7-9642-A633630B2A46}" srcOrd="0" destOrd="0" parTransId="{8D5408A1-1638-4F9F-AA8B-CC4D59B50ACA}" sibTransId="{4EC37A6F-9EFF-487C-B57D-353931C1D383}"/>
    <dgm:cxn modelId="{C346C6F3-005A-4557-96F5-8703D7F09251}" type="presOf" srcId="{D9C4D902-BD1F-4A38-B8A5-AB2B58925766}" destId="{358BADB0-A89A-48CE-B619-DA3839D44E0F}" srcOrd="0" destOrd="1" presId="urn:microsoft.com/office/officeart/2005/8/layout/hProcess4"/>
    <dgm:cxn modelId="{C6284C04-F373-421D-B00C-951E83B91677}" type="presOf" srcId="{A911B4F7-8BC9-47D7-9642-A633630B2A46}" destId="{86DDBEE2-8B91-44ED-B629-4631F9E18A12}" srcOrd="0" destOrd="0" presId="urn:microsoft.com/office/officeart/2005/8/layout/hProcess4"/>
    <dgm:cxn modelId="{1501C540-B400-4C59-9DAC-D64FBE8A660C}" type="presOf" srcId="{4BA94C8C-63E7-4819-9483-BDD6924D3746}" destId="{92BF8A00-5694-4464-90D9-1154141BC261}" srcOrd="0" destOrd="0" presId="urn:microsoft.com/office/officeart/2005/8/layout/hProcess4"/>
    <dgm:cxn modelId="{023C0A92-B3C0-45B9-8C86-AB829527B4BC}" srcId="{E214BA6D-6E14-4C83-A785-B4FF1581D05E}" destId="{8A8884EC-BED0-4A5D-9FB1-F77856440A7A}" srcOrd="1" destOrd="0" parTransId="{27D65953-E682-4B97-ACB4-A58EB1A1359A}" sibTransId="{A4FD3ACB-92D8-44FF-B568-32BD884EDF42}"/>
    <dgm:cxn modelId="{15E9255D-F264-4FF3-A457-4FE4DFA7BC18}" srcId="{4BA94C8C-63E7-4819-9483-BDD6924D3746}" destId="{63B2E526-0BFE-4FA5-A8D7-298406FAE965}" srcOrd="0" destOrd="0" parTransId="{57A5F5D4-98C2-4C16-9F39-F6287D891ABE}" sibTransId="{1E4685F7-B719-48A5-8C55-EDBA33AD99D6}"/>
    <dgm:cxn modelId="{9B8F273A-7734-4F66-9B24-9C396369A824}" type="presOf" srcId="{60526FAA-63B2-4ADE-AAB0-F298E6F23F64}" destId="{358BADB0-A89A-48CE-B619-DA3839D44E0F}" srcOrd="0" destOrd="0" presId="urn:microsoft.com/office/officeart/2005/8/layout/hProcess4"/>
    <dgm:cxn modelId="{13AD084F-B97A-4653-B873-0E3BDE4672B1}" type="presOf" srcId="{437AB23B-13B0-4AE3-924E-BFAE5EAE00A9}" destId="{0FFF5994-F4E1-424D-B972-4AA99AE9B8C2}" srcOrd="0" destOrd="0" presId="urn:microsoft.com/office/officeart/2005/8/layout/hProcess4"/>
    <dgm:cxn modelId="{32F6310B-9B6C-4F77-B7BC-F3C2A3B46007}" type="presOf" srcId="{8A8884EC-BED0-4A5D-9FB1-F77856440A7A}" destId="{86DDBEE2-8B91-44ED-B629-4631F9E18A12}" srcOrd="0" destOrd="1" presId="urn:microsoft.com/office/officeart/2005/8/layout/hProcess4"/>
    <dgm:cxn modelId="{458F19E9-3288-4B1D-B6EB-B59DC6233E61}" type="presOf" srcId="{AED6E543-D1E5-49FA-8209-021D517975D8}" destId="{625D5B61-73EB-4687-B366-E6F70F0FDF74}" srcOrd="0" destOrd="0" presId="urn:microsoft.com/office/officeart/2005/8/layout/hProcess4"/>
    <dgm:cxn modelId="{EAC61BCB-91CF-458D-8DE6-B75F857D6322}" type="presOf" srcId="{4DEF7991-DB3B-4EFB-B409-20A96B442569}" destId="{F827665D-69F4-4582-BEB2-A5794CA30A06}" srcOrd="0" destOrd="0" presId="urn:microsoft.com/office/officeart/2005/8/layout/hProcess4"/>
    <dgm:cxn modelId="{3EE9A413-4839-4763-919B-12467B3A636F}" srcId="{4BA94C8C-63E7-4819-9483-BDD6924D3746}" destId="{01D23FA9-EC24-4459-84B6-F0EA42D78154}" srcOrd="1" destOrd="0" parTransId="{1EAFB972-9367-44F6-B75E-CAD6F4A9855C}" sibTransId="{FCF1BCA6-0B6D-40E7-A1D4-8FBB7ED152A2}"/>
    <dgm:cxn modelId="{A3CD0832-9689-4028-BD60-CB681D6A04E9}" type="presOf" srcId="{63B2E526-0BFE-4FA5-A8D7-298406FAE965}" destId="{F32D151A-7816-4D8F-AF44-C36440897AD6}" srcOrd="0" destOrd="0" presId="urn:microsoft.com/office/officeart/2005/8/layout/hProcess4"/>
    <dgm:cxn modelId="{2E65FFDB-6336-4792-BA1D-060C7170E6FC}" type="presOf" srcId="{01D23FA9-EC24-4459-84B6-F0EA42D78154}" destId="{F32D151A-7816-4D8F-AF44-C36440897AD6}" srcOrd="0" destOrd="1" presId="urn:microsoft.com/office/officeart/2005/8/layout/hProcess4"/>
    <dgm:cxn modelId="{198CF78B-BDB6-469D-B9D7-589B4394544F}" srcId="{437AB23B-13B0-4AE3-924E-BFAE5EAE00A9}" destId="{D9C4D902-BD1F-4A38-B8A5-AB2B58925766}" srcOrd="1" destOrd="0" parTransId="{6FA57C59-A309-4D0D-88DF-DC1A1B0F2401}" sibTransId="{BB764740-97CF-4534-BF55-6E66EE5E3312}"/>
    <dgm:cxn modelId="{CF1C8B41-3EE3-49BA-87CA-7C17A5407209}" srcId="{AED6E543-D1E5-49FA-8209-021D517975D8}" destId="{437AB23B-13B0-4AE3-924E-BFAE5EAE00A9}" srcOrd="0" destOrd="0" parTransId="{39F77678-62E8-4A19-A41A-E19A68EAA443}" sibTransId="{4DEF7991-DB3B-4EFB-B409-20A96B442569}"/>
    <dgm:cxn modelId="{73A16509-1765-4041-B0ED-4DF964645DA7}" type="presOf" srcId="{60526FAA-63B2-4ADE-AAB0-F298E6F23F64}" destId="{44CE7E4B-B570-41DA-97BE-9F7D5574F4E3}" srcOrd="1" destOrd="0" presId="urn:microsoft.com/office/officeart/2005/8/layout/hProcess4"/>
    <dgm:cxn modelId="{FF952FDA-03BB-428A-A171-648B1548E607}" type="presOf" srcId="{01D23FA9-EC24-4459-84B6-F0EA42D78154}" destId="{1A5E6DB2-5944-4C01-A9F4-4A069AB36B67}" srcOrd="1" destOrd="1" presId="urn:microsoft.com/office/officeart/2005/8/layout/hProcess4"/>
    <dgm:cxn modelId="{3D0AB51B-E5C7-4247-A4E7-7062BAA385C2}" type="presOf" srcId="{63B2E526-0BFE-4FA5-A8D7-298406FAE965}" destId="{1A5E6DB2-5944-4C01-A9F4-4A069AB36B67}" srcOrd="1" destOrd="0" presId="urn:microsoft.com/office/officeart/2005/8/layout/hProcess4"/>
    <dgm:cxn modelId="{D0450FDA-BC76-47C2-988D-45F9EB26A779}" type="presOf" srcId="{8A8884EC-BED0-4A5D-9FB1-F77856440A7A}" destId="{7CE3F8E3-8C1C-421D-98A7-8FA69EF747B1}" srcOrd="1" destOrd="1" presId="urn:microsoft.com/office/officeart/2005/8/layout/hProcess4"/>
    <dgm:cxn modelId="{15B7F6F7-94F0-4A4C-AAAC-4EA87065D1FA}" type="presOf" srcId="{E214BA6D-6E14-4C83-A785-B4FF1581D05E}" destId="{C18F92D0-DEF2-4832-8FA1-278D95B6B3A0}" srcOrd="0" destOrd="0" presId="urn:microsoft.com/office/officeart/2005/8/layout/hProcess4"/>
    <dgm:cxn modelId="{CAB8C65F-80BD-4F77-BAB1-263B314301EC}" type="presOf" srcId="{A911B4F7-8BC9-47D7-9642-A633630B2A46}" destId="{7CE3F8E3-8C1C-421D-98A7-8FA69EF747B1}" srcOrd="1" destOrd="0" presId="urn:microsoft.com/office/officeart/2005/8/layout/hProcess4"/>
    <dgm:cxn modelId="{F3B1C539-6EB3-49AC-9439-6E0ACBED773E}" srcId="{437AB23B-13B0-4AE3-924E-BFAE5EAE00A9}" destId="{60526FAA-63B2-4ADE-AAB0-F298E6F23F64}" srcOrd="0" destOrd="0" parTransId="{003CB98F-C436-430F-8E2B-DFED7A3DE3CA}" sibTransId="{05924E85-815B-4F4E-9231-7F0B8C8D17BB}"/>
    <dgm:cxn modelId="{1277ADD3-18CB-4A79-A6A0-F531EAD63892}" type="presOf" srcId="{19A2954C-5C74-4380-B53D-3134DFD2BD93}" destId="{CDCAD455-EB6B-402B-B181-8BA63311810D}" srcOrd="0" destOrd="0" presId="urn:microsoft.com/office/officeart/2005/8/layout/hProcess4"/>
    <dgm:cxn modelId="{3CA67ACF-7279-4B62-AA0F-285F82224669}" srcId="{AED6E543-D1E5-49FA-8209-021D517975D8}" destId="{E214BA6D-6E14-4C83-A785-B4FF1581D05E}" srcOrd="1" destOrd="0" parTransId="{331F2735-C458-4AA1-88E7-CD44B12E69A7}" sibTransId="{19A2954C-5C74-4380-B53D-3134DFD2BD93}"/>
    <dgm:cxn modelId="{A1BAF308-AB9E-4CB9-9BFC-181699EAA8CD}" type="presOf" srcId="{D9C4D902-BD1F-4A38-B8A5-AB2B58925766}" destId="{44CE7E4B-B570-41DA-97BE-9F7D5574F4E3}" srcOrd="1" destOrd="1" presId="urn:microsoft.com/office/officeart/2005/8/layout/hProcess4"/>
    <dgm:cxn modelId="{16AAB086-F2EE-4519-8B56-87BEF348903A}" srcId="{AED6E543-D1E5-49FA-8209-021D517975D8}" destId="{4BA94C8C-63E7-4819-9483-BDD6924D3746}" srcOrd="2" destOrd="0" parTransId="{4F14D56A-292C-4BF3-8983-5BC9A05A7FFB}" sibTransId="{45C901A8-7DD6-4DD3-B25E-FEE59C9B66D4}"/>
    <dgm:cxn modelId="{147E48B3-5186-48AD-ACF9-917346AA255A}" type="presParOf" srcId="{625D5B61-73EB-4687-B366-E6F70F0FDF74}" destId="{6AB74C41-EE21-414F-B880-C91960AE5EC4}" srcOrd="0" destOrd="0" presId="urn:microsoft.com/office/officeart/2005/8/layout/hProcess4"/>
    <dgm:cxn modelId="{46A04AB2-4E9A-4F53-92CB-093223AE9F1B}" type="presParOf" srcId="{625D5B61-73EB-4687-B366-E6F70F0FDF74}" destId="{BC05A9D6-CA71-4512-9D58-2019022C136A}" srcOrd="1" destOrd="0" presId="urn:microsoft.com/office/officeart/2005/8/layout/hProcess4"/>
    <dgm:cxn modelId="{0ED9E5B0-2868-435B-AC52-2308EE60F069}" type="presParOf" srcId="{625D5B61-73EB-4687-B366-E6F70F0FDF74}" destId="{901CFE09-8308-4CB6-B42D-B87DA4DB62C7}" srcOrd="2" destOrd="0" presId="urn:microsoft.com/office/officeart/2005/8/layout/hProcess4"/>
    <dgm:cxn modelId="{E84663C9-B058-4D2C-A340-B9721BBB242D}" type="presParOf" srcId="{901CFE09-8308-4CB6-B42D-B87DA4DB62C7}" destId="{574BB2E0-F6FB-4BB5-8728-33C0181856D8}" srcOrd="0" destOrd="0" presId="urn:microsoft.com/office/officeart/2005/8/layout/hProcess4"/>
    <dgm:cxn modelId="{A679F199-7016-4621-9E84-1313BDD2B8BE}" type="presParOf" srcId="{574BB2E0-F6FB-4BB5-8728-33C0181856D8}" destId="{324361FE-5E04-4D56-84CD-3FBAD654CDE0}" srcOrd="0" destOrd="0" presId="urn:microsoft.com/office/officeart/2005/8/layout/hProcess4"/>
    <dgm:cxn modelId="{94689B40-D694-42F6-8523-D516019C9F39}" type="presParOf" srcId="{574BB2E0-F6FB-4BB5-8728-33C0181856D8}" destId="{358BADB0-A89A-48CE-B619-DA3839D44E0F}" srcOrd="1" destOrd="0" presId="urn:microsoft.com/office/officeart/2005/8/layout/hProcess4"/>
    <dgm:cxn modelId="{1DB85FE2-AB0F-4069-952D-8411F8A40E1D}" type="presParOf" srcId="{574BB2E0-F6FB-4BB5-8728-33C0181856D8}" destId="{44CE7E4B-B570-41DA-97BE-9F7D5574F4E3}" srcOrd="2" destOrd="0" presId="urn:microsoft.com/office/officeart/2005/8/layout/hProcess4"/>
    <dgm:cxn modelId="{7A8E8673-D68F-4609-A9DF-184A5583041C}" type="presParOf" srcId="{574BB2E0-F6FB-4BB5-8728-33C0181856D8}" destId="{0FFF5994-F4E1-424D-B972-4AA99AE9B8C2}" srcOrd="3" destOrd="0" presId="urn:microsoft.com/office/officeart/2005/8/layout/hProcess4"/>
    <dgm:cxn modelId="{38973EEE-F71B-4431-945A-0341A1B7A3F2}" type="presParOf" srcId="{574BB2E0-F6FB-4BB5-8728-33C0181856D8}" destId="{F268AAC0-5B1D-4FF2-A23A-A4120CB7760F}" srcOrd="4" destOrd="0" presId="urn:microsoft.com/office/officeart/2005/8/layout/hProcess4"/>
    <dgm:cxn modelId="{C2B38A50-990A-4EB1-A3A3-1C07C8F9065C}" type="presParOf" srcId="{901CFE09-8308-4CB6-B42D-B87DA4DB62C7}" destId="{F827665D-69F4-4582-BEB2-A5794CA30A06}" srcOrd="1" destOrd="0" presId="urn:microsoft.com/office/officeart/2005/8/layout/hProcess4"/>
    <dgm:cxn modelId="{5A2DC437-786D-49E0-85B4-0859553912D7}" type="presParOf" srcId="{901CFE09-8308-4CB6-B42D-B87DA4DB62C7}" destId="{0FDFAFA8-BEF1-4EA4-AABF-56E29002ACCE}" srcOrd="2" destOrd="0" presId="urn:microsoft.com/office/officeart/2005/8/layout/hProcess4"/>
    <dgm:cxn modelId="{F81F95AD-8830-482B-83A1-00B49767600A}" type="presParOf" srcId="{0FDFAFA8-BEF1-4EA4-AABF-56E29002ACCE}" destId="{1406CEDF-8E1C-46FB-9CFF-1DA3A113C7FE}" srcOrd="0" destOrd="0" presId="urn:microsoft.com/office/officeart/2005/8/layout/hProcess4"/>
    <dgm:cxn modelId="{3C67AEE3-F471-492E-B03F-610EB52E768F}" type="presParOf" srcId="{0FDFAFA8-BEF1-4EA4-AABF-56E29002ACCE}" destId="{86DDBEE2-8B91-44ED-B629-4631F9E18A12}" srcOrd="1" destOrd="0" presId="urn:microsoft.com/office/officeart/2005/8/layout/hProcess4"/>
    <dgm:cxn modelId="{01E996E0-1E2B-4E71-9695-D797C3493935}" type="presParOf" srcId="{0FDFAFA8-BEF1-4EA4-AABF-56E29002ACCE}" destId="{7CE3F8E3-8C1C-421D-98A7-8FA69EF747B1}" srcOrd="2" destOrd="0" presId="urn:microsoft.com/office/officeart/2005/8/layout/hProcess4"/>
    <dgm:cxn modelId="{7AC910AD-9EF3-4E3E-B310-C43D5FE927AC}" type="presParOf" srcId="{0FDFAFA8-BEF1-4EA4-AABF-56E29002ACCE}" destId="{C18F92D0-DEF2-4832-8FA1-278D95B6B3A0}" srcOrd="3" destOrd="0" presId="urn:microsoft.com/office/officeart/2005/8/layout/hProcess4"/>
    <dgm:cxn modelId="{A657B56C-432F-433D-A8E2-507EB5431802}" type="presParOf" srcId="{0FDFAFA8-BEF1-4EA4-AABF-56E29002ACCE}" destId="{DCDC6411-C29A-4982-8684-1D1BFC24E8FE}" srcOrd="4" destOrd="0" presId="urn:microsoft.com/office/officeart/2005/8/layout/hProcess4"/>
    <dgm:cxn modelId="{A62DFE8F-BC13-4A9F-B325-5E292ED56AE3}" type="presParOf" srcId="{901CFE09-8308-4CB6-B42D-B87DA4DB62C7}" destId="{CDCAD455-EB6B-402B-B181-8BA63311810D}" srcOrd="3" destOrd="0" presId="urn:microsoft.com/office/officeart/2005/8/layout/hProcess4"/>
    <dgm:cxn modelId="{2F2056A6-AC7F-4B05-AAFB-920B0C219106}" type="presParOf" srcId="{901CFE09-8308-4CB6-B42D-B87DA4DB62C7}" destId="{F894E1F7-CE39-4E50-B696-64D75C9AA8FE}" srcOrd="4" destOrd="0" presId="urn:microsoft.com/office/officeart/2005/8/layout/hProcess4"/>
    <dgm:cxn modelId="{CF25E489-A262-4BE4-B54F-57E1DC1AC643}" type="presParOf" srcId="{F894E1F7-CE39-4E50-B696-64D75C9AA8FE}" destId="{E1925DF0-50A4-41B2-A5A0-A320ADC8C4E2}" srcOrd="0" destOrd="0" presId="urn:microsoft.com/office/officeart/2005/8/layout/hProcess4"/>
    <dgm:cxn modelId="{3B016C72-CF43-4D1C-A403-CEA6A632A4AF}" type="presParOf" srcId="{F894E1F7-CE39-4E50-B696-64D75C9AA8FE}" destId="{F32D151A-7816-4D8F-AF44-C36440897AD6}" srcOrd="1" destOrd="0" presId="urn:microsoft.com/office/officeart/2005/8/layout/hProcess4"/>
    <dgm:cxn modelId="{69C628A7-EAB2-4822-AFB7-6C86A2115D4A}" type="presParOf" srcId="{F894E1F7-CE39-4E50-B696-64D75C9AA8FE}" destId="{1A5E6DB2-5944-4C01-A9F4-4A069AB36B67}" srcOrd="2" destOrd="0" presId="urn:microsoft.com/office/officeart/2005/8/layout/hProcess4"/>
    <dgm:cxn modelId="{61EDF9CB-8C96-4AAE-9479-8B3A4C5434A9}" type="presParOf" srcId="{F894E1F7-CE39-4E50-B696-64D75C9AA8FE}" destId="{92BF8A00-5694-4464-90D9-1154141BC261}" srcOrd="3" destOrd="0" presId="urn:microsoft.com/office/officeart/2005/8/layout/hProcess4"/>
    <dgm:cxn modelId="{017AE39D-00AD-4F82-8B20-974A98F36E1A}" type="presParOf" srcId="{F894E1F7-CE39-4E50-B696-64D75C9AA8FE}" destId="{014686AA-5AC4-408F-9ACA-399D799902FE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ED6E543-D1E5-49FA-8209-021D517975D8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37AB23B-13B0-4AE3-924E-BFAE5EAE00A9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820383" y="2432605"/>
          <a:ext cx="1511084" cy="6009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Инициатор проекта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9F77678-62E8-4A19-A41A-E19A68EAA443}" type="parTrans" cxnId="{CF1C8B41-3EE3-49BA-87CA-7C17A540720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DEF7991-DB3B-4EFB-B409-20A96B442569}" type="sibTrans" cxnId="{CF1C8B41-3EE3-49BA-87CA-7C17A5407209}">
      <dgm:prSet/>
      <dgm:spPr>
        <a:xfrm>
          <a:off x="1431323" y="1887774"/>
          <a:ext cx="1566254" cy="1566254"/>
        </a:xfr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214BA6D-6E14-4C83-A785-B4FF1581D05E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2701236" y="1030485"/>
          <a:ext cx="1511084" cy="6009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31F2735-C458-4AA1-88E7-CD44B12E69A7}" type="parTrans" cxnId="{3CA67ACF-7279-4B62-AA0F-285F8222466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9A2954C-5C74-4380-B53D-3134DFD2BD93}" type="sibTrans" cxnId="{3CA67ACF-7279-4B62-AA0F-285F82224669}">
      <dgm:prSet/>
      <dgm:spPr>
        <a:xfrm>
          <a:off x="3299270" y="559887"/>
          <a:ext cx="1764140" cy="1764140"/>
        </a:xfr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11B4F7-8BC9-47D7-9642-A633630B2A46}">
      <dgm:prSet phldrT="[Текст]" custT="1"/>
      <dgm:spPr>
        <a:xfrm>
          <a:off x="2404636" y="1330940"/>
          <a:ext cx="1633331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предварительного согласия на выдачу гарантии 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8D5408A1-1638-4F9F-AA8B-CC4D59B50ACA}" type="par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C37A6F-9EFF-487C-B57D-353931C1D383}" type="sib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BA94C8C-63E7-4819-9483-BDD6924D3746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4584915" y="2432605"/>
          <a:ext cx="1511084" cy="6009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-партнер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4F14D56A-292C-4BF3-8983-5BC9A05A7FFB}" type="par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C901A8-7DD6-4DD3-B25E-FEE59C9B66D4}" type="sib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A8884EC-BED0-4A5D-9FB1-F77856440A7A}">
      <dgm:prSet phldrT="[Текст]" custT="1"/>
      <dgm:spPr>
        <a:xfrm>
          <a:off x="2404636" y="1330940"/>
          <a:ext cx="1633331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роект в ключевые Банки партнеры для рассмотрения проекта и организации «тендера» среди Банков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27D65953-E682-4B97-ACB4-A58EB1A1359A}" type="par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4FD3ACB-92D8-44FF-B568-32BD884EDF42}" type="sib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526FAA-63B2-4ADE-AAB0-F298E6F23F64}">
      <dgm:prSet phldrT="[Текст]"/>
      <dgm:spPr>
        <a:xfrm>
          <a:off x="515375" y="1330940"/>
          <a:ext cx="1605196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003CB98F-C436-430F-8E2B-DFED7A3DE3CA}" type="parTrans" cxnId="{F3B1C539-6EB3-49AC-9439-6E0ACBED773E}">
      <dgm:prSet/>
      <dgm:spPr/>
      <dgm:t>
        <a:bodyPr/>
        <a:lstStyle/>
        <a:p>
          <a:endParaRPr lang="ru-RU"/>
        </a:p>
      </dgm:t>
    </dgm:pt>
    <dgm:pt modelId="{05924E85-815B-4F4E-9231-7F0B8C8D17BB}" type="sibTrans" cxnId="{F3B1C539-6EB3-49AC-9439-6E0ACBED773E}">
      <dgm:prSet/>
      <dgm:spPr/>
      <dgm:t>
        <a:bodyPr/>
        <a:lstStyle/>
        <a:p>
          <a:endParaRPr lang="ru-RU"/>
        </a:p>
      </dgm:t>
    </dgm:pt>
    <dgm:pt modelId="{D9C4D902-BD1F-4A38-B8A5-AB2B58925766}">
      <dgm:prSet phldrT="[Текст]" custT="1"/>
      <dgm:spPr>
        <a:xfrm>
          <a:off x="515375" y="1330940"/>
          <a:ext cx="1605196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Корпорацию с заявкой на получение предварительного согласия на выдачу гарантии </a:t>
          </a:r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6FA57C59-A309-4D0D-88DF-DC1A1B0F2401}" type="parTrans" cxnId="{198CF78B-BDB6-469D-B9D7-589B4394544F}">
      <dgm:prSet/>
      <dgm:spPr/>
      <dgm:t>
        <a:bodyPr/>
        <a:lstStyle/>
        <a:p>
          <a:endParaRPr lang="ru-RU"/>
        </a:p>
      </dgm:t>
    </dgm:pt>
    <dgm:pt modelId="{BB764740-97CF-4534-BF55-6E66EE5E3312}" type="sibTrans" cxnId="{198CF78B-BDB6-469D-B9D7-589B4394544F}">
      <dgm:prSet/>
      <dgm:spPr/>
      <dgm:t>
        <a:bodyPr/>
        <a:lstStyle/>
        <a:p>
          <a:endParaRPr lang="ru-RU"/>
        </a:p>
      </dgm:t>
    </dgm:pt>
    <dgm:pt modelId="{63B2E526-0BFE-4FA5-A8D7-298406FAE965}">
      <dgm:prSet phldrT="[Текст]" custT="1"/>
      <dgm:spPr>
        <a:xfrm>
          <a:off x="4345092" y="1330940"/>
          <a:ext cx="1480503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Самостоятельно принимает решение о предоставлении кредита с учетом решения Корпорации предоставлении предварительного согласия на выдачу гарантии </a:t>
          </a:r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57A5F5D4-98C2-4C16-9F39-F6287D891ABE}" type="parTrans" cxnId="{15E9255D-F264-4FF3-A457-4FE4DFA7BC18}">
      <dgm:prSet/>
      <dgm:spPr/>
      <dgm:t>
        <a:bodyPr/>
        <a:lstStyle/>
        <a:p>
          <a:endParaRPr lang="ru-RU"/>
        </a:p>
      </dgm:t>
    </dgm:pt>
    <dgm:pt modelId="{1E4685F7-B719-48A5-8C55-EDBA33AD99D6}" type="sibTrans" cxnId="{15E9255D-F264-4FF3-A457-4FE4DFA7BC18}">
      <dgm:prSet/>
      <dgm:spPr/>
      <dgm:t>
        <a:bodyPr/>
        <a:lstStyle/>
        <a:p>
          <a:endParaRPr lang="ru-RU"/>
        </a:p>
      </dgm:t>
    </dgm:pt>
    <dgm:pt modelId="{2E2F6236-2355-4A77-99D6-1B4F3AC3BC62}">
      <dgm:prSet phldrT="[Текст]" custT="1"/>
      <dgm:spPr>
        <a:xfrm>
          <a:off x="515375" y="1330940"/>
          <a:ext cx="1605196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5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едоставляет пакет документов 2 этапа</a:t>
          </a:r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9FEDDB59-0C94-45E3-8070-7F812EBAA36D}" type="parTrans" cxnId="{3AC56888-6C6F-4A5F-AAF1-01C20C42D98C}">
      <dgm:prSet/>
      <dgm:spPr/>
      <dgm:t>
        <a:bodyPr/>
        <a:lstStyle/>
        <a:p>
          <a:endParaRPr lang="ru-RU"/>
        </a:p>
      </dgm:t>
    </dgm:pt>
    <dgm:pt modelId="{A61CA3BA-DF1B-4CB5-84B2-293FFF0CD02C}" type="sibTrans" cxnId="{3AC56888-6C6F-4A5F-AAF1-01C20C42D98C}">
      <dgm:prSet/>
      <dgm:spPr/>
      <dgm:t>
        <a:bodyPr/>
        <a:lstStyle/>
        <a:p>
          <a:endParaRPr lang="ru-RU"/>
        </a:p>
      </dgm:t>
    </dgm:pt>
    <dgm:pt modelId="{3639CB1E-E875-44E7-B7F0-5748669BB42A}">
      <dgm:prSet phldrT="[Текст]" custT="1"/>
      <dgm:spPr>
        <a:xfrm>
          <a:off x="4345092" y="1330940"/>
          <a:ext cx="1480503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прашивает необходимый пакет документов у Заемщика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C46EEE42-19BF-4D8A-980F-66692021B397}" type="parTrans" cxnId="{E860C58B-D2CC-4E8A-B16D-282565B74A82}">
      <dgm:prSet/>
      <dgm:spPr/>
      <dgm:t>
        <a:bodyPr/>
        <a:lstStyle/>
        <a:p>
          <a:endParaRPr lang="ru-RU"/>
        </a:p>
      </dgm:t>
    </dgm:pt>
    <dgm:pt modelId="{A40838A3-A1C7-4529-92FD-0FEDC1491C5F}" type="sibTrans" cxnId="{E860C58B-D2CC-4E8A-B16D-282565B74A82}">
      <dgm:prSet/>
      <dgm:spPr/>
      <dgm:t>
        <a:bodyPr/>
        <a:lstStyle/>
        <a:p>
          <a:endParaRPr lang="ru-RU"/>
        </a:p>
      </dgm:t>
    </dgm:pt>
    <dgm:pt modelId="{625D5B61-73EB-4687-B366-E6F70F0FDF74}" type="pres">
      <dgm:prSet presAssocID="{AED6E543-D1E5-49FA-8209-021D517975D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AB74C41-EE21-414F-B880-C91960AE5EC4}" type="pres">
      <dgm:prSet presAssocID="{AED6E543-D1E5-49FA-8209-021D517975D8}" presName="tSp" presStyleCnt="0"/>
      <dgm:spPr/>
    </dgm:pt>
    <dgm:pt modelId="{BC05A9D6-CA71-4512-9D58-2019022C136A}" type="pres">
      <dgm:prSet presAssocID="{AED6E543-D1E5-49FA-8209-021D517975D8}" presName="bSp" presStyleCnt="0"/>
      <dgm:spPr/>
    </dgm:pt>
    <dgm:pt modelId="{901CFE09-8308-4CB6-B42D-B87DA4DB62C7}" type="pres">
      <dgm:prSet presAssocID="{AED6E543-D1E5-49FA-8209-021D517975D8}" presName="process" presStyleCnt="0"/>
      <dgm:spPr/>
    </dgm:pt>
    <dgm:pt modelId="{574BB2E0-F6FB-4BB5-8728-33C0181856D8}" type="pres">
      <dgm:prSet presAssocID="{437AB23B-13B0-4AE3-924E-BFAE5EAE00A9}" presName="composite1" presStyleCnt="0"/>
      <dgm:spPr/>
    </dgm:pt>
    <dgm:pt modelId="{324361FE-5E04-4D56-84CD-3FBAD654CDE0}" type="pres">
      <dgm:prSet presAssocID="{437AB23B-13B0-4AE3-924E-BFAE5EAE00A9}" presName="dummyNode1" presStyleLbl="node1" presStyleIdx="0" presStyleCnt="3"/>
      <dgm:spPr/>
    </dgm:pt>
    <dgm:pt modelId="{358BADB0-A89A-48CE-B619-DA3839D44E0F}" type="pres">
      <dgm:prSet presAssocID="{437AB23B-13B0-4AE3-924E-BFAE5EAE00A9}" presName="childNode1" presStyleLbl="bgAcc1" presStyleIdx="0" presStyleCnt="3" custScaleX="102077" custScaleY="157925" custLinFactNeighborX="27523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44CE7E4B-B570-41DA-97BE-9F7D5574F4E3}" type="pres">
      <dgm:prSet presAssocID="{437AB23B-13B0-4AE3-924E-BFAE5EAE00A9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FFF5994-F4E1-424D-B972-4AA99AE9B8C2}" type="pres">
      <dgm:prSet presAssocID="{437AB23B-13B0-4AE3-924E-BFAE5EAE00A9}" presName="parentNode1" presStyleLbl="node1" presStyleIdx="0" presStyleCnt="3" custLinFactNeighborX="17826" custLinFactNeighborY="63475">
        <dgm:presLayoutVars>
          <dgm:chMax val="1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F268AAC0-5B1D-4FF2-A23A-A4120CB7760F}" type="pres">
      <dgm:prSet presAssocID="{437AB23B-13B0-4AE3-924E-BFAE5EAE00A9}" presName="connSite1" presStyleCnt="0"/>
      <dgm:spPr/>
    </dgm:pt>
    <dgm:pt modelId="{F827665D-69F4-4582-BEB2-A5794CA30A06}" type="pres">
      <dgm:prSet presAssocID="{4DEF7991-DB3B-4EFB-B409-20A96B442569}" presName="Name9" presStyleLbl="sibTrans2D1" presStyleIdx="0" presStyleCnt="2" custScaleY="81918" custLinFactNeighborY="8932"/>
      <dgm:spPr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</dgm:spPr>
      <dgm:t>
        <a:bodyPr/>
        <a:lstStyle/>
        <a:p>
          <a:endParaRPr lang="ru-RU"/>
        </a:p>
      </dgm:t>
    </dgm:pt>
    <dgm:pt modelId="{0FDFAFA8-BEF1-4EA4-AABF-56E29002ACCE}" type="pres">
      <dgm:prSet presAssocID="{E214BA6D-6E14-4C83-A785-B4FF1581D05E}" presName="composite2" presStyleCnt="0"/>
      <dgm:spPr/>
    </dgm:pt>
    <dgm:pt modelId="{1406CEDF-8E1C-46FB-9CFF-1DA3A113C7FE}" type="pres">
      <dgm:prSet presAssocID="{E214BA6D-6E14-4C83-A785-B4FF1581D05E}" presName="dummyNode2" presStyleLbl="node1" presStyleIdx="0" presStyleCnt="3"/>
      <dgm:spPr/>
    </dgm:pt>
    <dgm:pt modelId="{86DDBEE2-8B91-44ED-B629-4631F9E18A12}" type="pres">
      <dgm:prSet presAssocID="{E214BA6D-6E14-4C83-A785-B4FF1581D05E}" presName="childNode2" presStyleLbl="bgAcc1" presStyleIdx="1" presStyleCnt="3" custScaleX="114625" custScaleY="191459" custLinFactNeighborX="17879" custLinFactNeighborY="2480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7CE3F8E3-8C1C-421D-98A7-8FA69EF747B1}" type="pres">
      <dgm:prSet presAssocID="{E214BA6D-6E14-4C83-A785-B4FF1581D05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8F92D0-DEF2-4832-8FA1-278D95B6B3A0}" type="pres">
      <dgm:prSet presAssocID="{E214BA6D-6E14-4C83-A785-B4FF1581D05E}" presName="parentNode2" presStyleLbl="node1" presStyleIdx="1" presStyleCnt="3" custLinFactNeighborX="4927" custLinFactNeighborY="-61678">
        <dgm:presLayoutVars>
          <dgm:chMax val="0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DCDC6411-C29A-4982-8684-1D1BFC24E8FE}" type="pres">
      <dgm:prSet presAssocID="{E214BA6D-6E14-4C83-A785-B4FF1581D05E}" presName="connSite2" presStyleCnt="0"/>
      <dgm:spPr/>
    </dgm:pt>
    <dgm:pt modelId="{CDCAD455-EB6B-402B-B181-8BA63311810D}" type="pres">
      <dgm:prSet presAssocID="{19A2954C-5C74-4380-B53D-3134DFD2BD93}" presName="Name18" presStyleLbl="sibTrans2D1" presStyleIdx="1" presStyleCnt="2" custScaleX="125601" custScaleY="95663" custLinFactNeighborX="-1579" custLinFactNeighborY="-6615"/>
      <dgm:spPr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</dgm:spPr>
      <dgm:t>
        <a:bodyPr/>
        <a:lstStyle/>
        <a:p>
          <a:endParaRPr lang="ru-RU"/>
        </a:p>
      </dgm:t>
    </dgm:pt>
    <dgm:pt modelId="{F894E1F7-CE39-4E50-B696-64D75C9AA8FE}" type="pres">
      <dgm:prSet presAssocID="{4BA94C8C-63E7-4819-9483-BDD6924D3746}" presName="composite1" presStyleCnt="0"/>
      <dgm:spPr/>
    </dgm:pt>
    <dgm:pt modelId="{E1925DF0-50A4-41B2-A5A0-A320ADC8C4E2}" type="pres">
      <dgm:prSet presAssocID="{4BA94C8C-63E7-4819-9483-BDD6924D3746}" presName="dummyNode1" presStyleLbl="node1" presStyleIdx="1" presStyleCnt="3"/>
      <dgm:spPr/>
    </dgm:pt>
    <dgm:pt modelId="{F32D151A-7816-4D8F-AF44-C36440897AD6}" type="pres">
      <dgm:prSet presAssocID="{4BA94C8C-63E7-4819-9483-BDD6924D3746}" presName="childNode1" presStyleLbl="bgAcc1" presStyleIdx="2" presStyleCnt="3" custScaleX="104455" custScaleY="206229" custLinFactNeighborX="7192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1A5E6DB2-5944-4C01-A9F4-4A069AB36B67}" type="pres">
      <dgm:prSet presAssocID="{4BA94C8C-63E7-4819-9483-BDD6924D3746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BF8A00-5694-4464-90D9-1154141BC261}" type="pres">
      <dgm:prSet presAssocID="{4BA94C8C-63E7-4819-9483-BDD6924D3746}" presName="parentNode1" presStyleLbl="node1" presStyleIdx="2" presStyleCnt="3" custScaleX="102702" custLinFactNeighborX="8770" custLinFactNeighborY="71914">
        <dgm:presLayoutVars>
          <dgm:chMax val="1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014686AA-5AC4-408F-9ACA-399D799902FE}" type="pres">
      <dgm:prSet presAssocID="{4BA94C8C-63E7-4819-9483-BDD6924D3746}" presName="connSite1" presStyleCnt="0"/>
      <dgm:spPr/>
    </dgm:pt>
  </dgm:ptLst>
  <dgm:cxnLst>
    <dgm:cxn modelId="{1D317181-D48C-4D80-A173-1D7E4ACE1D11}" type="presOf" srcId="{D9C4D902-BD1F-4A38-B8A5-AB2B58925766}" destId="{358BADB0-A89A-48CE-B619-DA3839D44E0F}" srcOrd="0" destOrd="1" presId="urn:microsoft.com/office/officeart/2005/8/layout/hProcess4"/>
    <dgm:cxn modelId="{DF04734E-1BE2-4ACC-9148-818AD2397D87}" type="presOf" srcId="{63B2E526-0BFE-4FA5-A8D7-298406FAE965}" destId="{F32D151A-7816-4D8F-AF44-C36440897AD6}" srcOrd="0" destOrd="1" presId="urn:microsoft.com/office/officeart/2005/8/layout/hProcess4"/>
    <dgm:cxn modelId="{F3B1C539-6EB3-49AC-9439-6E0ACBED773E}" srcId="{437AB23B-13B0-4AE3-924E-BFAE5EAE00A9}" destId="{60526FAA-63B2-4ADE-AAB0-F298E6F23F64}" srcOrd="0" destOrd="0" parTransId="{003CB98F-C436-430F-8E2B-DFED7A3DE3CA}" sibTransId="{05924E85-815B-4F4E-9231-7F0B8C8D17BB}"/>
    <dgm:cxn modelId="{BF137FA9-475F-4BED-B2F3-8861E23A1617}" type="presOf" srcId="{19A2954C-5C74-4380-B53D-3134DFD2BD93}" destId="{CDCAD455-EB6B-402B-B181-8BA63311810D}" srcOrd="0" destOrd="0" presId="urn:microsoft.com/office/officeart/2005/8/layout/hProcess4"/>
    <dgm:cxn modelId="{461F18DD-C405-4D4C-996D-A05F4B196387}" type="presOf" srcId="{4DEF7991-DB3B-4EFB-B409-20A96B442569}" destId="{F827665D-69F4-4582-BEB2-A5794CA30A06}" srcOrd="0" destOrd="0" presId="urn:microsoft.com/office/officeart/2005/8/layout/hProcess4"/>
    <dgm:cxn modelId="{5F9AE8B4-8BC6-4BDA-99AE-B99465F0C46D}" type="presOf" srcId="{60526FAA-63B2-4ADE-AAB0-F298E6F23F64}" destId="{44CE7E4B-B570-41DA-97BE-9F7D5574F4E3}" srcOrd="1" destOrd="0" presId="urn:microsoft.com/office/officeart/2005/8/layout/hProcess4"/>
    <dgm:cxn modelId="{A7235A81-7F98-4387-BFFF-757AE83CE23B}" type="presOf" srcId="{A911B4F7-8BC9-47D7-9642-A633630B2A46}" destId="{7CE3F8E3-8C1C-421D-98A7-8FA69EF747B1}" srcOrd="1" destOrd="0" presId="urn:microsoft.com/office/officeart/2005/8/layout/hProcess4"/>
    <dgm:cxn modelId="{48C1A20B-63B8-4373-9D3F-9AFCF9E2DDAA}" type="presOf" srcId="{A911B4F7-8BC9-47D7-9642-A633630B2A46}" destId="{86DDBEE2-8B91-44ED-B629-4631F9E18A12}" srcOrd="0" destOrd="0" presId="urn:microsoft.com/office/officeart/2005/8/layout/hProcess4"/>
    <dgm:cxn modelId="{0DE8548C-EA46-471F-9D0A-E2B34F486B94}" type="presOf" srcId="{E214BA6D-6E14-4C83-A785-B4FF1581D05E}" destId="{C18F92D0-DEF2-4832-8FA1-278D95B6B3A0}" srcOrd="0" destOrd="0" presId="urn:microsoft.com/office/officeart/2005/8/layout/hProcess4"/>
    <dgm:cxn modelId="{023C0A92-B3C0-45B9-8C86-AB829527B4BC}" srcId="{E214BA6D-6E14-4C83-A785-B4FF1581D05E}" destId="{8A8884EC-BED0-4A5D-9FB1-F77856440A7A}" srcOrd="1" destOrd="0" parTransId="{27D65953-E682-4B97-ACB4-A58EB1A1359A}" sibTransId="{A4FD3ACB-92D8-44FF-B568-32BD884EDF42}"/>
    <dgm:cxn modelId="{5A38B69C-4246-44C5-84D4-F9E3A9471359}" type="presOf" srcId="{8A8884EC-BED0-4A5D-9FB1-F77856440A7A}" destId="{86DDBEE2-8B91-44ED-B629-4631F9E18A12}" srcOrd="0" destOrd="1" presId="urn:microsoft.com/office/officeart/2005/8/layout/hProcess4"/>
    <dgm:cxn modelId="{F7607956-2B68-4120-ABF3-612B16A56CAF}" type="presOf" srcId="{4BA94C8C-63E7-4819-9483-BDD6924D3746}" destId="{92BF8A00-5694-4464-90D9-1154141BC261}" srcOrd="0" destOrd="0" presId="urn:microsoft.com/office/officeart/2005/8/layout/hProcess4"/>
    <dgm:cxn modelId="{9B38B6DE-04C6-4C12-ADCE-BBE11D2B3F4C}" srcId="{E214BA6D-6E14-4C83-A785-B4FF1581D05E}" destId="{A911B4F7-8BC9-47D7-9642-A633630B2A46}" srcOrd="0" destOrd="0" parTransId="{8D5408A1-1638-4F9F-AA8B-CC4D59B50ACA}" sibTransId="{4EC37A6F-9EFF-487C-B57D-353931C1D383}"/>
    <dgm:cxn modelId="{CF1C8B41-3EE3-49BA-87CA-7C17A5407209}" srcId="{AED6E543-D1E5-49FA-8209-021D517975D8}" destId="{437AB23B-13B0-4AE3-924E-BFAE5EAE00A9}" srcOrd="0" destOrd="0" parTransId="{39F77678-62E8-4A19-A41A-E19A68EAA443}" sibTransId="{4DEF7991-DB3B-4EFB-B409-20A96B442569}"/>
    <dgm:cxn modelId="{4EE56C2B-BB78-4A39-92B4-E33FB9B006F9}" type="presOf" srcId="{60526FAA-63B2-4ADE-AAB0-F298E6F23F64}" destId="{358BADB0-A89A-48CE-B619-DA3839D44E0F}" srcOrd="0" destOrd="0" presId="urn:microsoft.com/office/officeart/2005/8/layout/hProcess4"/>
    <dgm:cxn modelId="{6555265D-F84D-447D-A64E-ABE789D4B9F1}" type="presOf" srcId="{AED6E543-D1E5-49FA-8209-021D517975D8}" destId="{625D5B61-73EB-4687-B366-E6F70F0FDF74}" srcOrd="0" destOrd="0" presId="urn:microsoft.com/office/officeart/2005/8/layout/hProcess4"/>
    <dgm:cxn modelId="{3AC56888-6C6F-4A5F-AAF1-01C20C42D98C}" srcId="{437AB23B-13B0-4AE3-924E-BFAE5EAE00A9}" destId="{2E2F6236-2355-4A77-99D6-1B4F3AC3BC62}" srcOrd="2" destOrd="0" parTransId="{9FEDDB59-0C94-45E3-8070-7F812EBAA36D}" sibTransId="{A61CA3BA-DF1B-4CB5-84B2-293FFF0CD02C}"/>
    <dgm:cxn modelId="{16AAB086-F2EE-4519-8B56-87BEF348903A}" srcId="{AED6E543-D1E5-49FA-8209-021D517975D8}" destId="{4BA94C8C-63E7-4819-9483-BDD6924D3746}" srcOrd="2" destOrd="0" parTransId="{4F14D56A-292C-4BF3-8983-5BC9A05A7FFB}" sibTransId="{45C901A8-7DD6-4DD3-B25E-FEE59C9B66D4}"/>
    <dgm:cxn modelId="{C499A054-67B8-4B69-AE9C-CEABE27A5324}" type="presOf" srcId="{8A8884EC-BED0-4A5D-9FB1-F77856440A7A}" destId="{7CE3F8E3-8C1C-421D-98A7-8FA69EF747B1}" srcOrd="1" destOrd="1" presId="urn:microsoft.com/office/officeart/2005/8/layout/hProcess4"/>
    <dgm:cxn modelId="{15E9255D-F264-4FF3-A457-4FE4DFA7BC18}" srcId="{4BA94C8C-63E7-4819-9483-BDD6924D3746}" destId="{63B2E526-0BFE-4FA5-A8D7-298406FAE965}" srcOrd="1" destOrd="0" parTransId="{57A5F5D4-98C2-4C16-9F39-F6287D891ABE}" sibTransId="{1E4685F7-B719-48A5-8C55-EDBA33AD99D6}"/>
    <dgm:cxn modelId="{BF3E818A-7A04-45AA-97B0-8860A2C0966B}" type="presOf" srcId="{437AB23B-13B0-4AE3-924E-BFAE5EAE00A9}" destId="{0FFF5994-F4E1-424D-B972-4AA99AE9B8C2}" srcOrd="0" destOrd="0" presId="urn:microsoft.com/office/officeart/2005/8/layout/hProcess4"/>
    <dgm:cxn modelId="{DD34EB33-1DF1-4447-AF25-F4353A8EC964}" type="presOf" srcId="{3639CB1E-E875-44E7-B7F0-5748669BB42A}" destId="{F32D151A-7816-4D8F-AF44-C36440897AD6}" srcOrd="0" destOrd="0" presId="urn:microsoft.com/office/officeart/2005/8/layout/hProcess4"/>
    <dgm:cxn modelId="{3CA67ACF-7279-4B62-AA0F-285F82224669}" srcId="{AED6E543-D1E5-49FA-8209-021D517975D8}" destId="{E214BA6D-6E14-4C83-A785-B4FF1581D05E}" srcOrd="1" destOrd="0" parTransId="{331F2735-C458-4AA1-88E7-CD44B12E69A7}" sibTransId="{19A2954C-5C74-4380-B53D-3134DFD2BD93}"/>
    <dgm:cxn modelId="{E860C58B-D2CC-4E8A-B16D-282565B74A82}" srcId="{4BA94C8C-63E7-4819-9483-BDD6924D3746}" destId="{3639CB1E-E875-44E7-B7F0-5748669BB42A}" srcOrd="0" destOrd="0" parTransId="{C46EEE42-19BF-4D8A-980F-66692021B397}" sibTransId="{A40838A3-A1C7-4529-92FD-0FEDC1491C5F}"/>
    <dgm:cxn modelId="{175F1D6B-76DA-4749-A965-447E569D84BF}" type="presOf" srcId="{3639CB1E-E875-44E7-B7F0-5748669BB42A}" destId="{1A5E6DB2-5944-4C01-A9F4-4A069AB36B67}" srcOrd="1" destOrd="0" presId="urn:microsoft.com/office/officeart/2005/8/layout/hProcess4"/>
    <dgm:cxn modelId="{198CF78B-BDB6-469D-B9D7-589B4394544F}" srcId="{437AB23B-13B0-4AE3-924E-BFAE5EAE00A9}" destId="{D9C4D902-BD1F-4A38-B8A5-AB2B58925766}" srcOrd="1" destOrd="0" parTransId="{6FA57C59-A309-4D0D-88DF-DC1A1B0F2401}" sibTransId="{BB764740-97CF-4534-BF55-6E66EE5E3312}"/>
    <dgm:cxn modelId="{92995197-BAC5-413C-B56F-2D9BDF70F919}" type="presOf" srcId="{D9C4D902-BD1F-4A38-B8A5-AB2B58925766}" destId="{44CE7E4B-B570-41DA-97BE-9F7D5574F4E3}" srcOrd="1" destOrd="1" presId="urn:microsoft.com/office/officeart/2005/8/layout/hProcess4"/>
    <dgm:cxn modelId="{5796BA87-4733-45A1-B802-53D498A8C232}" type="presOf" srcId="{63B2E526-0BFE-4FA5-A8D7-298406FAE965}" destId="{1A5E6DB2-5944-4C01-A9F4-4A069AB36B67}" srcOrd="1" destOrd="1" presId="urn:microsoft.com/office/officeart/2005/8/layout/hProcess4"/>
    <dgm:cxn modelId="{00DDA64D-9EC9-43AC-BF95-F9C4AFC7FB6D}" type="presOf" srcId="{2E2F6236-2355-4A77-99D6-1B4F3AC3BC62}" destId="{44CE7E4B-B570-41DA-97BE-9F7D5574F4E3}" srcOrd="1" destOrd="2" presId="urn:microsoft.com/office/officeart/2005/8/layout/hProcess4"/>
    <dgm:cxn modelId="{D7B1AB5B-2006-422D-A02D-05756C71C3FF}" type="presOf" srcId="{2E2F6236-2355-4A77-99D6-1B4F3AC3BC62}" destId="{358BADB0-A89A-48CE-B619-DA3839D44E0F}" srcOrd="0" destOrd="2" presId="urn:microsoft.com/office/officeart/2005/8/layout/hProcess4"/>
    <dgm:cxn modelId="{DA2A44C4-C78D-494A-9A2E-E04F2C1C8EAD}" type="presParOf" srcId="{625D5B61-73EB-4687-B366-E6F70F0FDF74}" destId="{6AB74C41-EE21-414F-B880-C91960AE5EC4}" srcOrd="0" destOrd="0" presId="urn:microsoft.com/office/officeart/2005/8/layout/hProcess4"/>
    <dgm:cxn modelId="{AED705A7-D5DD-4169-834D-55456C594B30}" type="presParOf" srcId="{625D5B61-73EB-4687-B366-E6F70F0FDF74}" destId="{BC05A9D6-CA71-4512-9D58-2019022C136A}" srcOrd="1" destOrd="0" presId="urn:microsoft.com/office/officeart/2005/8/layout/hProcess4"/>
    <dgm:cxn modelId="{3AE517DB-7846-4D48-8470-4056250A977B}" type="presParOf" srcId="{625D5B61-73EB-4687-B366-E6F70F0FDF74}" destId="{901CFE09-8308-4CB6-B42D-B87DA4DB62C7}" srcOrd="2" destOrd="0" presId="urn:microsoft.com/office/officeart/2005/8/layout/hProcess4"/>
    <dgm:cxn modelId="{2D1E445D-5498-45DA-9DF5-BB7775C4C642}" type="presParOf" srcId="{901CFE09-8308-4CB6-B42D-B87DA4DB62C7}" destId="{574BB2E0-F6FB-4BB5-8728-33C0181856D8}" srcOrd="0" destOrd="0" presId="urn:microsoft.com/office/officeart/2005/8/layout/hProcess4"/>
    <dgm:cxn modelId="{B912B912-9FDD-40BE-8260-96CD820032F9}" type="presParOf" srcId="{574BB2E0-F6FB-4BB5-8728-33C0181856D8}" destId="{324361FE-5E04-4D56-84CD-3FBAD654CDE0}" srcOrd="0" destOrd="0" presId="urn:microsoft.com/office/officeart/2005/8/layout/hProcess4"/>
    <dgm:cxn modelId="{51CC7C26-1D42-4D0F-B635-AAC3A4EA0F66}" type="presParOf" srcId="{574BB2E0-F6FB-4BB5-8728-33C0181856D8}" destId="{358BADB0-A89A-48CE-B619-DA3839D44E0F}" srcOrd="1" destOrd="0" presId="urn:microsoft.com/office/officeart/2005/8/layout/hProcess4"/>
    <dgm:cxn modelId="{AD560179-1540-4077-BE78-5F5455A6E99F}" type="presParOf" srcId="{574BB2E0-F6FB-4BB5-8728-33C0181856D8}" destId="{44CE7E4B-B570-41DA-97BE-9F7D5574F4E3}" srcOrd="2" destOrd="0" presId="urn:microsoft.com/office/officeart/2005/8/layout/hProcess4"/>
    <dgm:cxn modelId="{FE11B3A2-A10E-4D73-97FC-F6AB82CFAA83}" type="presParOf" srcId="{574BB2E0-F6FB-4BB5-8728-33C0181856D8}" destId="{0FFF5994-F4E1-424D-B972-4AA99AE9B8C2}" srcOrd="3" destOrd="0" presId="urn:microsoft.com/office/officeart/2005/8/layout/hProcess4"/>
    <dgm:cxn modelId="{0C72CEF9-6AB2-4FC2-B1BC-C18C179BCE5E}" type="presParOf" srcId="{574BB2E0-F6FB-4BB5-8728-33C0181856D8}" destId="{F268AAC0-5B1D-4FF2-A23A-A4120CB7760F}" srcOrd="4" destOrd="0" presId="urn:microsoft.com/office/officeart/2005/8/layout/hProcess4"/>
    <dgm:cxn modelId="{3A925823-42E7-4F5D-93CD-D7A3F7183284}" type="presParOf" srcId="{901CFE09-8308-4CB6-B42D-B87DA4DB62C7}" destId="{F827665D-69F4-4582-BEB2-A5794CA30A06}" srcOrd="1" destOrd="0" presId="urn:microsoft.com/office/officeart/2005/8/layout/hProcess4"/>
    <dgm:cxn modelId="{51C39B1F-F1CD-4C7C-A9C4-0020807AFDB2}" type="presParOf" srcId="{901CFE09-8308-4CB6-B42D-B87DA4DB62C7}" destId="{0FDFAFA8-BEF1-4EA4-AABF-56E29002ACCE}" srcOrd="2" destOrd="0" presId="urn:microsoft.com/office/officeart/2005/8/layout/hProcess4"/>
    <dgm:cxn modelId="{82E8B5BC-F628-4E42-9A9F-EA80D8697069}" type="presParOf" srcId="{0FDFAFA8-BEF1-4EA4-AABF-56E29002ACCE}" destId="{1406CEDF-8E1C-46FB-9CFF-1DA3A113C7FE}" srcOrd="0" destOrd="0" presId="urn:microsoft.com/office/officeart/2005/8/layout/hProcess4"/>
    <dgm:cxn modelId="{23CD82A9-02ED-44E9-BCC1-BC9000F3EC44}" type="presParOf" srcId="{0FDFAFA8-BEF1-4EA4-AABF-56E29002ACCE}" destId="{86DDBEE2-8B91-44ED-B629-4631F9E18A12}" srcOrd="1" destOrd="0" presId="urn:microsoft.com/office/officeart/2005/8/layout/hProcess4"/>
    <dgm:cxn modelId="{00557736-F5C6-4AC4-86A1-0A9DD946FE46}" type="presParOf" srcId="{0FDFAFA8-BEF1-4EA4-AABF-56E29002ACCE}" destId="{7CE3F8E3-8C1C-421D-98A7-8FA69EF747B1}" srcOrd="2" destOrd="0" presId="urn:microsoft.com/office/officeart/2005/8/layout/hProcess4"/>
    <dgm:cxn modelId="{E72F3868-9135-4122-8427-18C4773FDF0A}" type="presParOf" srcId="{0FDFAFA8-BEF1-4EA4-AABF-56E29002ACCE}" destId="{C18F92D0-DEF2-4832-8FA1-278D95B6B3A0}" srcOrd="3" destOrd="0" presId="urn:microsoft.com/office/officeart/2005/8/layout/hProcess4"/>
    <dgm:cxn modelId="{0056BF0E-1B30-4073-ADC6-C4F506CA7914}" type="presParOf" srcId="{0FDFAFA8-BEF1-4EA4-AABF-56E29002ACCE}" destId="{DCDC6411-C29A-4982-8684-1D1BFC24E8FE}" srcOrd="4" destOrd="0" presId="urn:microsoft.com/office/officeart/2005/8/layout/hProcess4"/>
    <dgm:cxn modelId="{60BE2722-A572-44C2-9511-7C5CC55B0961}" type="presParOf" srcId="{901CFE09-8308-4CB6-B42D-B87DA4DB62C7}" destId="{CDCAD455-EB6B-402B-B181-8BA63311810D}" srcOrd="3" destOrd="0" presId="urn:microsoft.com/office/officeart/2005/8/layout/hProcess4"/>
    <dgm:cxn modelId="{4BFEF5F0-111C-4CC6-B85D-BDBB94970B4B}" type="presParOf" srcId="{901CFE09-8308-4CB6-B42D-B87DA4DB62C7}" destId="{F894E1F7-CE39-4E50-B696-64D75C9AA8FE}" srcOrd="4" destOrd="0" presId="urn:microsoft.com/office/officeart/2005/8/layout/hProcess4"/>
    <dgm:cxn modelId="{4F2A4DFC-554A-4675-A0EC-8A7848F5D02E}" type="presParOf" srcId="{F894E1F7-CE39-4E50-B696-64D75C9AA8FE}" destId="{E1925DF0-50A4-41B2-A5A0-A320ADC8C4E2}" srcOrd="0" destOrd="0" presId="urn:microsoft.com/office/officeart/2005/8/layout/hProcess4"/>
    <dgm:cxn modelId="{F76F8533-869B-422E-80A4-988FAE484CB6}" type="presParOf" srcId="{F894E1F7-CE39-4E50-B696-64D75C9AA8FE}" destId="{F32D151A-7816-4D8F-AF44-C36440897AD6}" srcOrd="1" destOrd="0" presId="urn:microsoft.com/office/officeart/2005/8/layout/hProcess4"/>
    <dgm:cxn modelId="{92012E8B-65D1-40FC-AEC7-DA030BBC14F9}" type="presParOf" srcId="{F894E1F7-CE39-4E50-B696-64D75C9AA8FE}" destId="{1A5E6DB2-5944-4C01-A9F4-4A069AB36B67}" srcOrd="2" destOrd="0" presId="urn:microsoft.com/office/officeart/2005/8/layout/hProcess4"/>
    <dgm:cxn modelId="{968A1C71-C633-40DD-8307-6CFB4D2B8F32}" type="presParOf" srcId="{F894E1F7-CE39-4E50-B696-64D75C9AA8FE}" destId="{92BF8A00-5694-4464-90D9-1154141BC261}" srcOrd="3" destOrd="0" presId="urn:microsoft.com/office/officeart/2005/8/layout/hProcess4"/>
    <dgm:cxn modelId="{B2E10A05-579E-4E74-BBE8-8BA954977321}" type="presParOf" srcId="{F894E1F7-CE39-4E50-B696-64D75C9AA8FE}" destId="{014686AA-5AC4-408F-9ACA-399D799902FE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8BADB0-A89A-48CE-B619-DA3839D44E0F}">
      <dsp:nvSpPr>
        <dsp:cNvPr id="0" name=""/>
        <dsp:cNvSpPr/>
      </dsp:nvSpPr>
      <dsp:spPr>
        <a:xfrm>
          <a:off x="867754" y="1769248"/>
          <a:ext cx="1702809" cy="182468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Банк с заявкой на получение кредита</a:t>
          </a: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909745" y="1811239"/>
        <a:ext cx="1618827" cy="1349700"/>
      </dsp:txXfrm>
    </dsp:sp>
    <dsp:sp modelId="{F827665D-69F4-4582-BEB2-A5794CA30A06}">
      <dsp:nvSpPr>
        <dsp:cNvPr id="0" name=""/>
        <dsp:cNvSpPr/>
      </dsp:nvSpPr>
      <dsp:spPr>
        <a:xfrm>
          <a:off x="1846924" y="2298318"/>
          <a:ext cx="2302074" cy="2302074"/>
        </a:xfrm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FFF5994-F4E1-424D-B972-4AA99AE9B8C2}">
      <dsp:nvSpPr>
        <dsp:cNvPr id="0" name=""/>
        <dsp:cNvSpPr/>
      </dsp:nvSpPr>
      <dsp:spPr>
        <a:xfrm>
          <a:off x="1071605" y="3202931"/>
          <a:ext cx="1966491" cy="7820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емщик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1094509" y="3225835"/>
        <a:ext cx="1920683" cy="736200"/>
      </dsp:txXfrm>
    </dsp:sp>
    <dsp:sp modelId="{86DDBEE2-8B91-44ED-B629-4631F9E18A12}">
      <dsp:nvSpPr>
        <dsp:cNvPr id="0" name=""/>
        <dsp:cNvSpPr/>
      </dsp:nvSpPr>
      <dsp:spPr>
        <a:xfrm>
          <a:off x="2967386" y="1769248"/>
          <a:ext cx="2906036" cy="182468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кредита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акет документов Клиента в Корпорацию для получения гарантии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3009377" y="2202243"/>
        <a:ext cx="2822054" cy="1349700"/>
      </dsp:txXfrm>
    </dsp:sp>
    <dsp:sp modelId="{CDCAD455-EB6B-402B-B181-8BA63311810D}">
      <dsp:nvSpPr>
        <dsp:cNvPr id="0" name=""/>
        <dsp:cNvSpPr/>
      </dsp:nvSpPr>
      <dsp:spPr>
        <a:xfrm>
          <a:off x="4491083" y="654750"/>
          <a:ext cx="2728957" cy="2728957"/>
        </a:xfrm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8F92D0-DEF2-4832-8FA1-278D95B6B3A0}">
      <dsp:nvSpPr>
        <dsp:cNvPr id="0" name=""/>
        <dsp:cNvSpPr/>
      </dsp:nvSpPr>
      <dsp:spPr>
        <a:xfrm>
          <a:off x="3743604" y="1378244"/>
          <a:ext cx="1966491" cy="7820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3766508" y="1401148"/>
        <a:ext cx="1920683" cy="736200"/>
      </dsp:txXfrm>
    </dsp:sp>
    <dsp:sp modelId="{F32D151A-7816-4D8F-AF44-C36440897AD6}">
      <dsp:nvSpPr>
        <dsp:cNvPr id="0" name=""/>
        <dsp:cNvSpPr/>
      </dsp:nvSpPr>
      <dsp:spPr>
        <a:xfrm>
          <a:off x="6287919" y="1769248"/>
          <a:ext cx="1859750" cy="182468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гарантии</a:t>
          </a:r>
          <a:endParaRPr lang="ru-RU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6329910" y="1811239"/>
        <a:ext cx="1775768" cy="1349700"/>
      </dsp:txXfrm>
    </dsp:sp>
    <dsp:sp modelId="{92BF8A00-5694-4464-90D9-1154141BC261}">
      <dsp:nvSpPr>
        <dsp:cNvPr id="0" name=""/>
        <dsp:cNvSpPr/>
      </dsp:nvSpPr>
      <dsp:spPr>
        <a:xfrm>
          <a:off x="6448272" y="3202931"/>
          <a:ext cx="1966491" cy="7820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6471176" y="3225835"/>
        <a:ext cx="1920683" cy="7362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8BADB0-A89A-48CE-B619-DA3839D44E0F}">
      <dsp:nvSpPr>
        <dsp:cNvPr id="0" name=""/>
        <dsp:cNvSpPr/>
      </dsp:nvSpPr>
      <dsp:spPr>
        <a:xfrm>
          <a:off x="626811" y="844132"/>
          <a:ext cx="2307103" cy="2943973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Корпорацию с заявкой на получение предварительного согласия на выдачу гарантии </a:t>
          </a: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5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едоставляет пакет документов 2 этапа</a:t>
          </a: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694384" y="911705"/>
        <a:ext cx="2171957" cy="2177976"/>
      </dsp:txXfrm>
    </dsp:sp>
    <dsp:sp modelId="{F827665D-69F4-4582-BEB2-A5794CA30A06}">
      <dsp:nvSpPr>
        <dsp:cNvPr id="0" name=""/>
        <dsp:cNvSpPr/>
      </dsp:nvSpPr>
      <dsp:spPr>
        <a:xfrm>
          <a:off x="1494833" y="2424303"/>
          <a:ext cx="2747285" cy="2250521"/>
        </a:xfrm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FFF5994-F4E1-424D-B972-4AA99AE9B8C2}">
      <dsp:nvSpPr>
        <dsp:cNvPr id="0" name=""/>
        <dsp:cNvSpPr/>
      </dsp:nvSpPr>
      <dsp:spPr>
        <a:xfrm>
          <a:off x="888607" y="3355854"/>
          <a:ext cx="2009031" cy="798925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Инициатор проекта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912007" y="3379254"/>
        <a:ext cx="1962231" cy="752125"/>
      </dsp:txXfrm>
    </dsp:sp>
    <dsp:sp modelId="{86DDBEE2-8B91-44ED-B629-4631F9E18A12}">
      <dsp:nvSpPr>
        <dsp:cNvPr id="0" name=""/>
        <dsp:cNvSpPr/>
      </dsp:nvSpPr>
      <dsp:spPr>
        <a:xfrm>
          <a:off x="3292994" y="577800"/>
          <a:ext cx="2590708" cy="3569101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предварительного согласия на выдачу гарантии 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роект в ключевые Банки партнеры для рассмотрения проекта и организации «тендера» среди Банков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3368873" y="1418486"/>
        <a:ext cx="2438950" cy="2652535"/>
      </dsp:txXfrm>
    </dsp:sp>
    <dsp:sp modelId="{CDCAD455-EB6B-402B-B181-8BA63311810D}">
      <dsp:nvSpPr>
        <dsp:cNvPr id="0" name=""/>
        <dsp:cNvSpPr/>
      </dsp:nvSpPr>
      <dsp:spPr>
        <a:xfrm>
          <a:off x="3819008" y="-192857"/>
          <a:ext cx="3676924" cy="2800499"/>
        </a:xfrm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8F92D0-DEF2-4832-8FA1-278D95B6B3A0}">
      <dsp:nvSpPr>
        <dsp:cNvPr id="0" name=""/>
        <dsp:cNvSpPr/>
      </dsp:nvSpPr>
      <dsp:spPr>
        <a:xfrm>
          <a:off x="3655417" y="491815"/>
          <a:ext cx="2009031" cy="798925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3678817" y="515215"/>
        <a:ext cx="1962231" cy="752125"/>
      </dsp:txXfrm>
    </dsp:sp>
    <dsp:sp modelId="{F32D151A-7816-4D8F-AF44-C36440897AD6}">
      <dsp:nvSpPr>
        <dsp:cNvPr id="0" name=""/>
        <dsp:cNvSpPr/>
      </dsp:nvSpPr>
      <dsp:spPr>
        <a:xfrm>
          <a:off x="6077406" y="393900"/>
          <a:ext cx="2360850" cy="384443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прашивает необходимый пакет документов у Заемщика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Самостоятельно принимает решение о предоставлении кредита с учетом решения Корпорации предоставлении предварительного согласия на выдачу гарантии </a:t>
          </a:r>
          <a:endParaRPr lang="ru-RU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6146553" y="463047"/>
        <a:ext cx="2222556" cy="2882335"/>
      </dsp:txXfrm>
    </dsp:sp>
    <dsp:sp modelId="{92BF8A00-5694-4464-90D9-1154141BC261}">
      <dsp:nvSpPr>
        <dsp:cNvPr id="0" name=""/>
        <dsp:cNvSpPr/>
      </dsp:nvSpPr>
      <dsp:spPr>
        <a:xfrm>
          <a:off x="6445064" y="3423275"/>
          <a:ext cx="2063315" cy="798925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-партнер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6468464" y="3446675"/>
        <a:ext cx="2016515" cy="75212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t" anchorCtr="0" compatLnSpc="1">
            <a:prstTxWarp prst="textNoShape">
              <a:avLst/>
            </a:prstTxWarp>
          </a:bodyPr>
          <a:lstStyle>
            <a:lvl1pPr defTabSz="622397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09707" y="0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t" anchorCtr="0" compatLnSpc="1">
            <a:prstTxWarp prst="textNoShape">
              <a:avLst/>
            </a:prstTxWarp>
          </a:bodyPr>
          <a:lstStyle>
            <a:lvl1pPr algn="r" defTabSz="622397">
              <a:defRPr sz="800"/>
            </a:lvl1pPr>
          </a:lstStyle>
          <a:p>
            <a:fld id="{42B58284-BD55-477D-829B-0D8B66B41141}" type="datetimeFigureOut">
              <a:rPr lang="en-US"/>
              <a:pPr/>
              <a:t>6/7/2016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378975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b" anchorCtr="0" compatLnSpc="1">
            <a:prstTxWarp prst="textNoShape">
              <a:avLst/>
            </a:prstTxWarp>
          </a:bodyPr>
          <a:lstStyle>
            <a:lvl1pPr defTabSz="622397">
              <a:defRPr sz="8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09707" y="9378975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b" anchorCtr="0" compatLnSpc="1">
            <a:prstTxWarp prst="textNoShape">
              <a:avLst/>
            </a:prstTxWarp>
          </a:bodyPr>
          <a:lstStyle>
            <a:lvl1pPr algn="r" defTabSz="622397">
              <a:defRPr sz="800"/>
            </a:lvl1pPr>
          </a:lstStyle>
          <a:p>
            <a:fld id="{B000AF5B-B840-4C36-ABEB-C07F7C1C287A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0745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>
            <a:lvl1pPr defTabSz="622397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09707" y="0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>
            <a:lvl1pPr algn="r" defTabSz="622397">
              <a:defRPr sz="1100">
                <a:latin typeface="Calibri" pitchFamily="34" charset="0"/>
              </a:defRPr>
            </a:lvl1pPr>
          </a:lstStyle>
          <a:p>
            <a:fld id="{660D0E8B-676B-4AF2-96B6-20F8C726C38A}" type="datetimeFigureOut">
              <a:rPr lang="en-US"/>
              <a:pPr/>
              <a:t>6/7/201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63575" y="741363"/>
            <a:ext cx="5399088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6623" tIns="68315" rIns="136623" bIns="68315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1847" y="4690273"/>
            <a:ext cx="5380958" cy="444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0"/>
            <a:r>
              <a:rPr lang="en-US" smtClean="0"/>
              <a:t>Second level</a:t>
            </a:r>
          </a:p>
          <a:p>
            <a:pPr lvl="0"/>
            <a:r>
              <a:rPr lang="en-US" smtClean="0"/>
              <a:t>Third level</a:t>
            </a:r>
          </a:p>
          <a:p>
            <a:pPr lvl="0"/>
            <a:r>
              <a:rPr lang="en-US" smtClean="0"/>
              <a:t>Fourth level</a:t>
            </a:r>
          </a:p>
          <a:p>
            <a:pPr lvl="0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378975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b" anchorCtr="0" compatLnSpc="1">
            <a:prstTxWarp prst="textNoShape">
              <a:avLst/>
            </a:prstTxWarp>
          </a:bodyPr>
          <a:lstStyle>
            <a:lvl1pPr defTabSz="622397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09707" y="9378975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b" anchorCtr="0" compatLnSpc="1">
            <a:prstTxWarp prst="textNoShape">
              <a:avLst/>
            </a:prstTxWarp>
          </a:bodyPr>
          <a:lstStyle>
            <a:lvl1pPr algn="r" defTabSz="622397">
              <a:defRPr sz="1100">
                <a:latin typeface="Calibri" pitchFamily="34" charset="0"/>
              </a:defRPr>
            </a:lvl1pPr>
          </a:lstStyle>
          <a:p>
            <a:fld id="{7712EFF2-E535-4F8D-9276-91B171A78362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42481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1pPr>
    <a:lvl2pPr marL="778686" indent="-299495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2pPr>
    <a:lvl3pPr marL="1197978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3pPr>
    <a:lvl4pPr marL="1677170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4pPr>
    <a:lvl5pPr marL="2156361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5pPr>
    <a:lvl6pPr marL="2395957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6pPr>
    <a:lvl7pPr marL="2875148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7pPr>
    <a:lvl8pPr marL="3354339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8pPr>
    <a:lvl9pPr marL="3833531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0" y="-4926"/>
            <a:ext cx="12599988" cy="2667103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1189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309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20" r:id="rId2"/>
    <p:sldLayoutId id="2147483921" r:id="rId3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13" Type="http://schemas.openxmlformats.org/officeDocument/2006/relationships/image" Target="../media/image26.png"/><Relationship Id="rId3" Type="http://schemas.openxmlformats.org/officeDocument/2006/relationships/image" Target="../media/image16.jpeg"/><Relationship Id="rId7" Type="http://schemas.openxmlformats.org/officeDocument/2006/relationships/image" Target="../media/image20.jpeg"/><Relationship Id="rId12" Type="http://schemas.openxmlformats.org/officeDocument/2006/relationships/image" Target="../media/image25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jpeg"/><Relationship Id="rId11" Type="http://schemas.openxmlformats.org/officeDocument/2006/relationships/image" Target="../media/image24.jpeg"/><Relationship Id="rId5" Type="http://schemas.openxmlformats.org/officeDocument/2006/relationships/image" Target="../media/image18.jpeg"/><Relationship Id="rId10" Type="http://schemas.openxmlformats.org/officeDocument/2006/relationships/image" Target="../media/image23.jpeg"/><Relationship Id="rId4" Type="http://schemas.openxmlformats.org/officeDocument/2006/relationships/image" Target="../media/image17.jpeg"/><Relationship Id="rId9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mailto:info@corpmsp.ru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99376" y="4216178"/>
            <a:ext cx="10001242" cy="2153327"/>
          </a:xfrm>
        </p:spPr>
        <p:txBody>
          <a:bodyPr/>
          <a:lstStyle/>
          <a:p>
            <a:r>
              <a:rPr lang="ru-RU" sz="4400" dirty="0"/>
              <a:t>Финансовая поддержка субъектов МСП</a:t>
            </a:r>
          </a:p>
        </p:txBody>
      </p:sp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1299376" y="7168450"/>
            <a:ext cx="10001242" cy="52775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  <a:lvl2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2pPr>
            <a:lvl3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3pPr>
            <a:lvl4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4pPr>
            <a:lvl5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5pPr>
            <a:lvl6pPr marL="546678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6pPr>
            <a:lvl7pPr marL="1093357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7pPr>
            <a:lvl8pPr marL="1640035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8pPr>
            <a:lvl9pPr marL="2186714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2000" dirty="0"/>
              <a:t>Москва, 2016 г.</a:t>
            </a:r>
          </a:p>
        </p:txBody>
      </p:sp>
    </p:spTree>
    <p:extLst>
      <p:ext uri="{BB962C8B-B14F-4D97-AF65-F5344CB8AC3E}">
        <p14:creationId xmlns:p14="http://schemas.microsoft.com/office/powerpoint/2010/main" val="25744740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Скругленный прямоугольник 20"/>
          <p:cNvSpPr/>
          <p:nvPr/>
        </p:nvSpPr>
        <p:spPr>
          <a:xfrm>
            <a:off x="5842000" y="2616200"/>
            <a:ext cx="6376191" cy="3835400"/>
          </a:xfrm>
          <a:prstGeom prst="roundRect">
            <a:avLst>
              <a:gd name="adj" fmla="val 2995"/>
            </a:avLst>
          </a:prstGeom>
          <a:solidFill>
            <a:srgbClr val="E7F5FE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46449" y="152402"/>
            <a:ext cx="8608254" cy="698685"/>
          </a:xfrm>
        </p:spPr>
        <p:txBody>
          <a:bodyPr/>
          <a:lstStyle/>
          <a:p>
            <a:r>
              <a:rPr lang="ru-RU" dirty="0"/>
              <a:t>Технология предоставления </a:t>
            </a:r>
            <a:r>
              <a:rPr lang="ru-RU" dirty="0" smtClean="0"/>
              <a:t>гарантий – стандартная процедур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51350" y="1408877"/>
            <a:ext cx="11903353" cy="725733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dirty="0"/>
              <a:t>Взаимодействие с Корпорацией по вопросу получения гарантии осуществляет Банк-партнер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dirty="0" smtClean="0"/>
              <a:t>Комплект </a:t>
            </a:r>
            <a:r>
              <a:rPr lang="ru-RU" sz="1600" dirty="0"/>
              <a:t>документов для получения гарантии аналогичен комплекту документов для получения кредита (дополнительные документы не запрашиваются</a:t>
            </a:r>
            <a:r>
              <a:rPr lang="ru-RU" sz="1600" dirty="0" smtClean="0"/>
              <a:t>)</a:t>
            </a:r>
            <a:endParaRPr lang="ru-RU" sz="1600" dirty="0"/>
          </a:p>
        </p:txBody>
      </p: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4057963611"/>
              </p:ext>
            </p:extLst>
          </p:nvPr>
        </p:nvGraphicFramePr>
        <p:xfrm>
          <a:off x="-228600" y="1998844"/>
          <a:ext cx="8414764" cy="5363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46" name="Группа 45"/>
          <p:cNvGrpSpPr/>
          <p:nvPr/>
        </p:nvGrpSpPr>
        <p:grpSpPr>
          <a:xfrm>
            <a:off x="8728436" y="3146714"/>
            <a:ext cx="3223715" cy="2823297"/>
            <a:chOff x="9033236" y="2527589"/>
            <a:chExt cx="3223715" cy="2823297"/>
          </a:xfrm>
        </p:grpSpPr>
        <p:grpSp>
          <p:nvGrpSpPr>
            <p:cNvPr id="47" name="Группа 46"/>
            <p:cNvGrpSpPr/>
            <p:nvPr/>
          </p:nvGrpSpPr>
          <p:grpSpPr>
            <a:xfrm>
              <a:off x="9036234" y="2527589"/>
              <a:ext cx="3220716" cy="2823297"/>
              <a:chOff x="7124699" y="2596568"/>
              <a:chExt cx="2556218" cy="1911995"/>
            </a:xfrm>
            <a:solidFill>
              <a:srgbClr val="5B9BD5">
                <a:lumMod val="60000"/>
                <a:lumOff val="40000"/>
              </a:srgbClr>
            </a:solidFill>
          </p:grpSpPr>
          <p:sp>
            <p:nvSpPr>
              <p:cNvPr id="57" name="Rectangle 1"/>
              <p:cNvSpPr>
                <a:spLocks/>
              </p:cNvSpPr>
              <p:nvPr/>
            </p:nvSpPr>
            <p:spPr bwMode="auto">
              <a:xfrm rot="5400000">
                <a:off x="8277423" y="3105069"/>
                <a:ext cx="1911995" cy="894993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12" b="0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/>
                  <a:cs typeface="+mn-cs"/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 rot="5400000">
                <a:off x="6940280" y="3554518"/>
                <a:ext cx="1137564" cy="768726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512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9" name="Rectangle 1"/>
              <p:cNvSpPr>
                <a:spLocks/>
              </p:cNvSpPr>
              <p:nvPr/>
            </p:nvSpPr>
            <p:spPr bwMode="auto">
              <a:xfrm rot="5400000">
                <a:off x="7612597" y="3310747"/>
                <a:ext cx="1452920" cy="820202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12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endParaRPr>
              </a:p>
            </p:txBody>
          </p:sp>
        </p:grpSp>
        <p:sp>
          <p:nvSpPr>
            <p:cNvPr id="48" name="Rectangle 6"/>
            <p:cNvSpPr>
              <a:spLocks noChangeArrowheads="1"/>
            </p:cNvSpPr>
            <p:nvPr/>
          </p:nvSpPr>
          <p:spPr bwMode="auto">
            <a:xfrm>
              <a:off x="9053637" y="4015033"/>
              <a:ext cx="962918" cy="465341"/>
            </a:xfrm>
            <a:prstGeom prst="rect">
              <a:avLst/>
            </a:prstGeom>
            <a:solidFill>
              <a:srgbClr val="5B9BD5">
                <a:lumMod val="60000"/>
                <a:lumOff val="4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&lt; 15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3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49" name="Rectangle 6"/>
            <p:cNvSpPr>
              <a:spLocks noChangeArrowheads="1"/>
            </p:cNvSpPr>
            <p:nvPr/>
          </p:nvSpPr>
          <p:spPr bwMode="auto">
            <a:xfrm>
              <a:off x="10075294" y="3447537"/>
              <a:ext cx="1006844" cy="4653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15 -</a:t>
              </a: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50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 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5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50" name="Rectangle 6"/>
            <p:cNvSpPr>
              <a:spLocks noChangeArrowheads="1"/>
            </p:cNvSpPr>
            <p:nvPr/>
          </p:nvSpPr>
          <p:spPr bwMode="auto">
            <a:xfrm>
              <a:off x="11155742" y="2967925"/>
              <a:ext cx="1081451" cy="465341"/>
            </a:xfrm>
            <a:prstGeom prst="rect">
              <a:avLst/>
            </a:prstGeom>
            <a:solidFill>
              <a:srgbClr val="5B9BD5">
                <a:lumMod val="60000"/>
                <a:lumOff val="4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&gt; 50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 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10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51" name="Прямоугольник 50"/>
            <p:cNvSpPr/>
            <p:nvPr/>
          </p:nvSpPr>
          <p:spPr>
            <a:xfrm rot="10800000">
              <a:off x="9033236" y="4875129"/>
              <a:ext cx="3223715" cy="475755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512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Rectangle 6"/>
            <p:cNvSpPr>
              <a:spLocks noChangeArrowheads="1"/>
            </p:cNvSpPr>
            <p:nvPr/>
          </p:nvSpPr>
          <p:spPr bwMode="auto">
            <a:xfrm>
              <a:off x="9037697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Микросег</a:t>
              </a:r>
              <a:r>
                <a:rPr kumimoji="0" lang="ru-RU" sz="1323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-мент</a:t>
              </a: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3" name="Rectangle 1"/>
            <p:cNvSpPr>
              <a:spLocks/>
            </p:cNvSpPr>
            <p:nvPr/>
          </p:nvSpPr>
          <p:spPr bwMode="auto">
            <a:xfrm rot="5400000">
              <a:off x="8914158" y="4200908"/>
              <a:ext cx="2239697" cy="57604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2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4" name="Rectangle 1"/>
            <p:cNvSpPr>
              <a:spLocks/>
            </p:cNvSpPr>
            <p:nvPr/>
          </p:nvSpPr>
          <p:spPr bwMode="auto">
            <a:xfrm rot="5400000">
              <a:off x="9699957" y="3909773"/>
              <a:ext cx="2821968" cy="57604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2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5" name="Rectangle 6"/>
            <p:cNvSpPr>
              <a:spLocks noChangeArrowheads="1"/>
            </p:cNvSpPr>
            <p:nvPr/>
          </p:nvSpPr>
          <p:spPr bwMode="auto">
            <a:xfrm>
              <a:off x="10076839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Малый сегмент</a:t>
              </a:r>
            </a:p>
          </p:txBody>
        </p:sp>
        <p:sp>
          <p:nvSpPr>
            <p:cNvPr id="56" name="Rectangle 6"/>
            <p:cNvSpPr>
              <a:spLocks noChangeArrowheads="1"/>
            </p:cNvSpPr>
            <p:nvPr/>
          </p:nvSpPr>
          <p:spPr bwMode="auto">
            <a:xfrm>
              <a:off x="11187250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Средний сегмент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82929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46449" y="152402"/>
            <a:ext cx="8608254" cy="698685"/>
          </a:xfrm>
        </p:spPr>
        <p:txBody>
          <a:bodyPr/>
          <a:lstStyle/>
          <a:p>
            <a:r>
              <a:rPr lang="ru-RU" dirty="0"/>
              <a:t>Технология предоставления </a:t>
            </a:r>
            <a:r>
              <a:rPr lang="ru-RU" dirty="0" smtClean="0"/>
              <a:t>гарантий – «корпоративный канал»</a:t>
            </a:r>
            <a:endParaRPr lang="ru-RU" dirty="0"/>
          </a:p>
        </p:txBody>
      </p: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3153425819"/>
              </p:ext>
            </p:extLst>
          </p:nvPr>
        </p:nvGraphicFramePr>
        <p:xfrm>
          <a:off x="122663" y="3686571"/>
          <a:ext cx="8508380" cy="46322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0" name="Текст 2"/>
          <p:cNvSpPr txBox="1">
            <a:spLocks/>
          </p:cNvSpPr>
          <p:nvPr/>
        </p:nvSpPr>
        <p:spPr>
          <a:xfrm>
            <a:off x="825190" y="1104244"/>
            <a:ext cx="11273396" cy="248644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ru-RU" sz="1600" b="1" dirty="0" smtClean="0"/>
              <a:t>Ключевые требования к проектам для рассмотрения в рамках процедуры приоритетного структурирования  и предоставления Корпорацией предварительного согласия на выдачу гарантии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1600" b="1" dirty="0" smtClean="0"/>
          </a:p>
          <a:p>
            <a:pPr marL="342900" lvl="0" indent="-342900">
              <a:buFont typeface="+mj-lt"/>
              <a:buAutoNum type="arabicPeriod"/>
            </a:pPr>
            <a:r>
              <a:rPr lang="ru-RU" sz="1600" dirty="0" smtClean="0"/>
              <a:t>Сумма </a:t>
            </a:r>
            <a:r>
              <a:rPr lang="ru-RU" sz="1600" dirty="0"/>
              <a:t>проекта более 200 млн. руб., сумма гарантии более 100 млн. руб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1600" dirty="0"/>
              <a:t>Проект соответствует </a:t>
            </a:r>
            <a:r>
              <a:rPr lang="ru-RU" sz="1600" dirty="0" smtClean="0"/>
              <a:t>приоритетным направлениям </a:t>
            </a:r>
            <a:r>
              <a:rPr lang="ru-RU" sz="1600" dirty="0"/>
              <a:t>развития науки, технологий и техники в Российской Федерации и направления развития критических технологий Российской Федерации в соответствии с Указом Президента Российской Федерации от 07.07.2011 № </a:t>
            </a:r>
            <a:r>
              <a:rPr lang="ru-RU" sz="1600" dirty="0" smtClean="0"/>
              <a:t>899 </a:t>
            </a:r>
            <a:r>
              <a:rPr lang="ru-RU" sz="1600" dirty="0"/>
              <a:t>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</a:t>
            </a:r>
            <a:r>
              <a:rPr lang="ru-RU" sz="1600" dirty="0" smtClean="0"/>
              <a:t>»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1600" dirty="0" smtClean="0"/>
              <a:t>Проект </a:t>
            </a:r>
            <a:r>
              <a:rPr lang="ru-RU" sz="1600" dirty="0"/>
              <a:t>находится в высокой стадии проработки субъектом </a:t>
            </a:r>
            <a:r>
              <a:rPr lang="ru-RU" sz="1600" dirty="0" smtClean="0"/>
              <a:t>МСП (соответствует требованиям в чек листе)</a:t>
            </a:r>
            <a:endParaRPr lang="ru-RU" sz="16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8798173" y="3686571"/>
            <a:ext cx="3456529" cy="4574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latin typeface="+mn-lt"/>
                <a:cs typeface="+mn-cs"/>
              </a:rPr>
              <a:t>1-ый этап взаимодействия </a:t>
            </a:r>
            <a:r>
              <a:rPr lang="ru-RU" sz="1400" b="1" dirty="0" smtClean="0">
                <a:latin typeface="+mn-lt"/>
                <a:cs typeface="+mn-cs"/>
              </a:rPr>
              <a:t>инициатора проекта с Корпорацией. Пакет документов для направления в Корпорацию.</a:t>
            </a:r>
            <a:endParaRPr lang="ru-RU" sz="1400" b="1" dirty="0">
              <a:latin typeface="+mn-lt"/>
              <a:cs typeface="+mn-cs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 smtClean="0">
                <a:latin typeface="+mn-lt"/>
                <a:cs typeface="+mn-cs"/>
              </a:rPr>
              <a:t>Чек-лист</a:t>
            </a:r>
            <a:endParaRPr lang="ru-RU" sz="1400" dirty="0">
              <a:latin typeface="+mn-lt"/>
              <a:cs typeface="+mn-cs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 smtClean="0">
                <a:latin typeface="+mn-lt"/>
                <a:cs typeface="+mn-cs"/>
              </a:rPr>
              <a:t>Анкета </a:t>
            </a:r>
            <a:r>
              <a:rPr lang="ru-RU" sz="1400" dirty="0">
                <a:latin typeface="+mn-lt"/>
                <a:cs typeface="+mn-cs"/>
              </a:rPr>
              <a:t>проекта –(предоставляется в формате </a:t>
            </a:r>
            <a:r>
              <a:rPr lang="en-US" sz="1400" dirty="0">
                <a:latin typeface="+mn-lt"/>
                <a:cs typeface="+mn-cs"/>
              </a:rPr>
              <a:t>Microsoft Excel</a:t>
            </a:r>
            <a:r>
              <a:rPr lang="ru-RU" sz="1400" dirty="0">
                <a:latin typeface="+mn-lt"/>
                <a:cs typeface="+mn-cs"/>
              </a:rPr>
              <a:t>)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 smtClean="0">
                <a:latin typeface="+mn-lt"/>
                <a:cs typeface="+mn-cs"/>
              </a:rPr>
              <a:t>Заявка </a:t>
            </a:r>
            <a:r>
              <a:rPr lang="ru-RU" sz="1400" dirty="0">
                <a:latin typeface="+mn-lt"/>
                <a:cs typeface="+mn-cs"/>
              </a:rPr>
              <a:t>на получение банковской гарантии с анкетами </a:t>
            </a:r>
            <a:r>
              <a:rPr lang="ru-RU" sz="1400" dirty="0" err="1">
                <a:latin typeface="+mn-lt"/>
                <a:cs typeface="+mn-cs"/>
              </a:rPr>
              <a:t>бенефициарных</a:t>
            </a:r>
            <a:r>
              <a:rPr lang="ru-RU" sz="1400" dirty="0">
                <a:latin typeface="+mn-lt"/>
                <a:cs typeface="+mn-cs"/>
              </a:rPr>
              <a:t> владельцев (разделы в части Банка заполняется в случае предварительного обращения в банк) 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latin typeface="+mn-lt"/>
                <a:cs typeface="+mn-cs"/>
              </a:rPr>
              <a:t>Информация по ТЭО в соответствии с разделом требованиями по Чек-листу (в форме презентации/бизнес-плана – рекомендуется).</a:t>
            </a:r>
          </a:p>
        </p:txBody>
      </p:sp>
    </p:spTree>
    <p:extLst>
      <p:ext uri="{BB962C8B-B14F-4D97-AF65-F5344CB8AC3E}">
        <p14:creationId xmlns:p14="http://schemas.microsoft.com/office/powerpoint/2010/main" val="2503540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2. Программа стимулирования кредитования </a:t>
            </a:r>
            <a:br>
              <a:rPr lang="ru-RU" dirty="0"/>
            </a:br>
            <a:r>
              <a:rPr lang="ru-RU" dirty="0"/>
              <a:t>субъектов малого и среднего предпринимательства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b="0" dirty="0"/>
              <a:t>«ПРОГРАММА 6,5»</a:t>
            </a:r>
          </a:p>
        </p:txBody>
      </p:sp>
    </p:spTree>
    <p:extLst>
      <p:ext uri="{BB962C8B-B14F-4D97-AF65-F5344CB8AC3E}">
        <p14:creationId xmlns:p14="http://schemas.microsoft.com/office/powerpoint/2010/main" val="3246824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57600" y="152402"/>
            <a:ext cx="8597103" cy="698685"/>
          </a:xfrm>
        </p:spPr>
        <p:txBody>
          <a:bodyPr/>
          <a:lstStyle/>
          <a:p>
            <a:r>
              <a:rPr lang="ru-RU" dirty="0"/>
              <a:t>Условия Программы 6,5 % и </a:t>
            </a:r>
            <a:r>
              <a:rPr lang="ru-RU" dirty="0" smtClean="0"/>
              <a:t>уполномоченные банки</a:t>
            </a:r>
            <a:endParaRPr lang="ru-RU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370506" y="1610879"/>
            <a:ext cx="11884196" cy="3664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центная ставка -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1 %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ля субъектов малого предпринимательства и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0 %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- для субъектов среднего предпринимательства</a:t>
            </a: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рок льготного фондирования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о 3 лет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срок кредита может превышать срок льготного фондирования)</a:t>
            </a: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екты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иоритетных отраслей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: 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ельское хозяйство/ предоставление услуг в этой области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Обрабатывающее производство, в </a:t>
            </a:r>
            <a:r>
              <a:rPr kumimoji="0" lang="ru-RU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т.ч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. производство пищевых продуктов, первичная и последующая переработка с/х продуктов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изводство и распределение электроэнергии, газа и воды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троительство, транспорт и связь</a:t>
            </a:r>
          </a:p>
          <a:p>
            <a:pPr marL="444500" lvl="0" indent="-285750" defTabSz="457200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 smtClean="0">
                <a:solidFill>
                  <a:prstClr val="black"/>
                </a:solidFill>
                <a:latin typeface="+mj-lt"/>
                <a:cs typeface="+mn-cs"/>
              </a:rPr>
              <a:t>Внутренний туризм</a:t>
            </a:r>
          </a:p>
          <a:p>
            <a:pPr marL="444500" lvl="0" indent="-285750" defTabSz="457200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 smtClean="0">
                <a:solidFill>
                  <a:prstClr val="black"/>
                </a:solidFill>
                <a:latin typeface="+mj-lt"/>
                <a:cs typeface="+mn-cs"/>
              </a:rPr>
              <a:t>Высокотехнологичные проекты</a:t>
            </a: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Размер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кредита: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от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50 млн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рублей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о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 млрд рублей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общий кредитный лимит на заемщика - до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4 млрд рублей)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2" name="Текст 2"/>
          <p:cNvSpPr txBox="1">
            <a:spLocks/>
          </p:cNvSpPr>
          <p:nvPr/>
        </p:nvSpPr>
        <p:spPr>
          <a:xfrm>
            <a:off x="370506" y="688320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Ключевые условия Программы</a:t>
            </a: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363538" y="1462961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Текст 2"/>
          <p:cNvSpPr txBox="1">
            <a:spLocks/>
          </p:cNvSpPr>
          <p:nvPr/>
        </p:nvSpPr>
        <p:spPr>
          <a:xfrm>
            <a:off x="370506" y="5876144"/>
            <a:ext cx="11884197" cy="405591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Уполномоченные банки Корпорации</a:t>
            </a: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363538" y="6410653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Группа 47"/>
          <p:cNvGrpSpPr/>
          <p:nvPr/>
        </p:nvGrpSpPr>
        <p:grpSpPr>
          <a:xfrm>
            <a:off x="660804" y="6443610"/>
            <a:ext cx="11416896" cy="1934633"/>
            <a:chOff x="541245" y="6476168"/>
            <a:chExt cx="7544837" cy="1278499"/>
          </a:xfrm>
        </p:grpSpPr>
        <p:pic>
          <p:nvPicPr>
            <p:cNvPr id="36" name="Рисунок 3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6408" y="6652246"/>
              <a:ext cx="958195" cy="384581"/>
            </a:xfrm>
            <a:prstGeom prst="rect">
              <a:avLst/>
            </a:prstGeom>
          </p:spPr>
        </p:pic>
        <p:pic>
          <p:nvPicPr>
            <p:cNvPr id="37" name="Рисунок 3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62712" y="7220332"/>
              <a:ext cx="914808" cy="306460"/>
            </a:xfrm>
            <a:prstGeom prst="rect">
              <a:avLst/>
            </a:prstGeom>
          </p:spPr>
        </p:pic>
        <p:pic>
          <p:nvPicPr>
            <p:cNvPr id="38" name="Рисунок 3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65591" y="7130246"/>
              <a:ext cx="1248841" cy="624421"/>
            </a:xfrm>
            <a:prstGeom prst="rect">
              <a:avLst/>
            </a:prstGeom>
          </p:spPr>
        </p:pic>
        <p:pic>
          <p:nvPicPr>
            <p:cNvPr id="39" name="Рисунок 38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671" b="30292"/>
            <a:stretch/>
          </p:blipFill>
          <p:spPr>
            <a:xfrm>
              <a:off x="4830707" y="6476168"/>
              <a:ext cx="1333861" cy="444947"/>
            </a:xfrm>
            <a:prstGeom prst="rect">
              <a:avLst/>
            </a:prstGeom>
          </p:spPr>
        </p:pic>
        <p:pic>
          <p:nvPicPr>
            <p:cNvPr id="40" name="Рисунок 3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65660" y="7295042"/>
              <a:ext cx="1087332" cy="294830"/>
            </a:xfrm>
            <a:prstGeom prst="rect">
              <a:avLst/>
            </a:prstGeom>
          </p:spPr>
        </p:pic>
        <p:pic>
          <p:nvPicPr>
            <p:cNvPr id="41" name="Рисунок 4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0449" y="7057771"/>
              <a:ext cx="928501" cy="464250"/>
            </a:xfrm>
            <a:prstGeom prst="rect">
              <a:avLst/>
            </a:prstGeom>
          </p:spPr>
        </p:pic>
        <p:pic>
          <p:nvPicPr>
            <p:cNvPr id="42" name="Рисунок 4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10777" y="7184321"/>
              <a:ext cx="1127619" cy="233042"/>
            </a:xfrm>
            <a:prstGeom prst="rect">
              <a:avLst/>
            </a:prstGeom>
          </p:spPr>
        </p:pic>
        <p:pic>
          <p:nvPicPr>
            <p:cNvPr id="43" name="Рисунок 42"/>
            <p:cNvPicPr>
              <a:picLocks noChangeAspect="1"/>
            </p:cNvPicPr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4230036" y="6892882"/>
              <a:ext cx="1389565" cy="368573"/>
            </a:xfrm>
            <a:prstGeom prst="rect">
              <a:avLst/>
            </a:prstGeom>
          </p:spPr>
        </p:pic>
        <p:pic>
          <p:nvPicPr>
            <p:cNvPr id="44" name="Рисунок 43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05352" y="6561169"/>
              <a:ext cx="580730" cy="580730"/>
            </a:xfrm>
            <a:prstGeom prst="rect">
              <a:avLst/>
            </a:prstGeom>
          </p:spPr>
        </p:pic>
        <p:pic>
          <p:nvPicPr>
            <p:cNvPr id="45" name="Рисунок 44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536" b="24288"/>
            <a:stretch/>
          </p:blipFill>
          <p:spPr>
            <a:xfrm>
              <a:off x="3154100" y="6584461"/>
              <a:ext cx="966617" cy="443806"/>
            </a:xfrm>
            <a:prstGeom prst="rect">
              <a:avLst/>
            </a:prstGeom>
          </p:spPr>
        </p:pic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5816457" y="6964475"/>
              <a:ext cx="1350345" cy="268490"/>
            </a:xfrm>
            <a:prstGeom prst="rect">
              <a:avLst/>
            </a:prstGeom>
          </p:spPr>
        </p:pic>
        <p:pic>
          <p:nvPicPr>
            <p:cNvPr id="47" name="Picture 2" descr="F:\logo-sberbank.png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541245" y="6594371"/>
              <a:ext cx="1076647" cy="269162"/>
            </a:xfrm>
            <a:prstGeom prst="rect">
              <a:avLst/>
            </a:prstGeom>
            <a:noFill/>
          </p:spPr>
        </p:pic>
      </p:grpSp>
      <p:sp>
        <p:nvSpPr>
          <p:cNvPr id="3" name="Прямоугольник 2"/>
          <p:cNvSpPr/>
          <p:nvPr/>
        </p:nvSpPr>
        <p:spPr>
          <a:xfrm>
            <a:off x="379107" y="5355017"/>
            <a:ext cx="1067517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defTabSz="457200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prstClr val="black"/>
                </a:solidFill>
                <a:latin typeface="+mj-lt"/>
                <a:cs typeface="+mn-cs"/>
              </a:rPr>
              <a:t>Конечный заемщик должен быть зарегистрирован в статусе юридического лица</a:t>
            </a:r>
          </a:p>
        </p:txBody>
      </p:sp>
    </p:spTree>
    <p:extLst>
      <p:ext uri="{BB962C8B-B14F-4D97-AF65-F5344CB8AC3E}">
        <p14:creationId xmlns:p14="http://schemas.microsoft.com/office/powerpoint/2010/main" val="2733181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68390" y="163832"/>
            <a:ext cx="8686313" cy="698685"/>
          </a:xfrm>
        </p:spPr>
        <p:txBody>
          <a:bodyPr/>
          <a:lstStyle/>
          <a:p>
            <a:r>
              <a:rPr lang="ru-RU" dirty="0" smtClean="0"/>
              <a:t>Условия Программы 6,5. Требования </a:t>
            </a:r>
            <a:r>
              <a:rPr lang="ru-RU" dirty="0"/>
              <a:t>к </a:t>
            </a:r>
            <a:r>
              <a:rPr lang="ru-RU" dirty="0" smtClean="0"/>
              <a:t>проектам и заемщикам</a:t>
            </a:r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7071031"/>
              </p:ext>
            </p:extLst>
          </p:nvPr>
        </p:nvGraphicFramePr>
        <p:xfrm>
          <a:off x="351349" y="991871"/>
          <a:ext cx="11903353" cy="7468221"/>
        </p:xfrm>
        <a:graphic>
          <a:graphicData uri="http://schemas.openxmlformats.org/drawingml/2006/table">
            <a:tbl>
              <a:tblPr firstRow="1" bandRow="1"/>
              <a:tblGrid>
                <a:gridCol w="221317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69017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91062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левое использование кредитов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иционные цели - финансирование мероприятий по приобретению основных средств, модернизации и реконструкции производства, запуску новых проектов/производств. Допускается финансирование текущих расходов, связанных с реализацией инвестиционного проекта (не более 30% от совокупной величины инвестиционных кредитов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полнение оборотных средств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мер кредита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менее </a:t>
                      </a:r>
                      <a:r>
                        <a:rPr lang="ru-RU" sz="1200" b="1" kern="120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 млн. рублей</a:t>
                      </a:r>
                      <a:r>
                        <a:rPr lang="ru-RU" sz="1200" b="0" kern="120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и не более </a:t>
                      </a:r>
                      <a:r>
                        <a:rPr lang="ru-RU" sz="1200" b="1" kern="120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млрд. рублей</a:t>
                      </a:r>
                      <a:endParaRPr lang="ru-RU" sz="1200" b="0" kern="120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щий размер кредитных средств, привлеченных одним конечным заемщиком в рамках Программы не может превышать </a:t>
                      </a:r>
                      <a:r>
                        <a:rPr lang="ru-RU" sz="1200" b="1" kern="120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 млрд. рублей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центные ставки по кредитам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ая</a:t>
                      </a:r>
                      <a:r>
                        <a:rPr lang="ru-RU" sz="1200" kern="1200" baseline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ставка для заемщиков субъектов </a:t>
                      </a:r>
                      <a:r>
                        <a:rPr lang="ru-RU" sz="1200" b="1" kern="1200" baseline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алого бизнеса</a:t>
                      </a:r>
                      <a:r>
                        <a:rPr lang="en-US" sz="1200" b="1" kern="1200" baseline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11%</a:t>
                      </a:r>
                      <a:r>
                        <a:rPr lang="ru-RU" sz="1200" b="1" kern="1200" baseline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среднего бизнеса -</a:t>
                      </a:r>
                      <a:r>
                        <a:rPr lang="en-US" sz="1200" b="1" kern="1200" baseline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kern="1200" baseline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%</a:t>
                      </a:r>
                      <a:endParaRPr lang="ru-RU" sz="1200" b="1" kern="120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i="0" kern="120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выше уровня процентной ставки, установленной Банком России по кредитам Банка России (6,5%), обеспеченным поручительствами Корпорации, предоставляемым уполномоченным банкам, увеличенной на размер комиссионного вознаграждения Корпорации (0,5%) при предоставлении поручительства Корпорации за уполномоченные банки перед Банком России, плюс 3,0 % годовых (при условии, что конечным заемщиком является субъект среднего предпринимательства) или 4,0 % годовых </a:t>
                      </a:r>
                      <a:br>
                        <a:rPr lang="ru-RU" sz="1200" i="0" kern="120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1200" i="0" kern="120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при условии, что конечным заемщиком является субъект малого предпринимательства).</a:t>
                      </a:r>
                      <a:endParaRPr lang="ru-RU" sz="1200" b="0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роки кредит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 усмотрение Уполномоченного банка (кредит может быть предоставлен на срок более 3 лет, при этом срок льготного фондирования по Программе не должен превышать 3 года)</a:t>
                      </a:r>
                      <a:endParaRPr lang="ru-RU" sz="1200" b="0" kern="120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91062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ля финансирования инвестиционного проекта за счет заемных средств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kern="120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более  80% </a:t>
                      </a:r>
                      <a:r>
                        <a:rPr lang="ru-RU" sz="1200" b="0" kern="120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для инвестиционных кредитов в размере более 500 млн. рублей и инвестиционных кредитов независимо от размера кредита, погашение основного долга по которым предусматривается за счет денежного потока, производимого за счет реализации цели кредитования без учета доходов от текущей деятельности конечного заемщика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kern="120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з ограничений</a:t>
                      </a:r>
                      <a:r>
                        <a:rPr lang="ru-RU" sz="1200" b="0" kern="120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для прочих инвестиционных проектов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298651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ребования к инвестиционным проектам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инвестиционных кредитов в размере более 500 млн. рублей и инвестиционных кредитов независимо от размера кредита, погашение основного долга по которым предусматривается за счет денежного потока, производимого за счет реализации цели кредитования без учета доходов от текущей деятельности конечного заемщика:</a:t>
                      </a:r>
                      <a:endParaRPr lang="en-US" sz="120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55600" lvl="0" indent="-171450" algn="l">
                        <a:spcBef>
                          <a:spcPts val="3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ru-RU" sz="120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истая приведенная стоимость инвестиционного проекта является положительной</a:t>
                      </a:r>
                      <a:endParaRPr lang="en-US" sz="120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55600" lvl="0" indent="-171450" algn="l">
                        <a:spcBef>
                          <a:spcPts val="3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ru-RU" sz="120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утренняя норма рентабельности превышает выбранную ставку дисконтирования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прочих инвестиционных проектов требования не устанавливаются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517713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инансовые требования к заемщику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ложительный финансовый результат по данным бухгалтерской отчетности за предыдущий календарный год (не применяется к специально созданным проектным компаниям (SPV)); Вновь созданное юридическое лицо представляет промежуточную или годовую бухгалтерскую отчетность за первый отчетный период, который определяется в соответствии с статьей 15 Федерального закона от 06.12.2011 № 402-ФЗ «О бухгалтерском учете»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ложительные чистые активы (не применяется к специально созданным проектным компаниям (SPV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казатель «Общий долг / Операционная прибыль» юридического лица (или группы компаний, если рассматриваемое юридическое лицо входит в группу компаний) не превышает 5***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7901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9171" y="152402"/>
            <a:ext cx="8695532" cy="698685"/>
          </a:xfrm>
        </p:spPr>
        <p:txBody>
          <a:bodyPr/>
          <a:lstStyle/>
          <a:p>
            <a:r>
              <a:rPr lang="ru-RU" dirty="0"/>
              <a:t>Порядок получения Уполномоченным банком кредитов Банка </a:t>
            </a:r>
            <a:r>
              <a:rPr lang="ru-RU" dirty="0" smtClean="0"/>
              <a:t>России</a:t>
            </a:r>
            <a:endParaRPr lang="ru-RU" dirty="0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6327559" y="1541686"/>
            <a:ext cx="0" cy="6330459"/>
          </a:xfrm>
          <a:prstGeom prst="line">
            <a:avLst/>
          </a:prstGeom>
          <a:noFill/>
          <a:ln w="9525" cap="flat" cmpd="sng" algn="ctr">
            <a:solidFill>
              <a:srgbClr val="00A1DE"/>
            </a:solidFill>
            <a:prstDash val="solid"/>
          </a:ln>
          <a:effectLst/>
        </p:spPr>
      </p:cxnSp>
      <p:grpSp>
        <p:nvGrpSpPr>
          <p:cNvPr id="4" name="Группа 3"/>
          <p:cNvGrpSpPr/>
          <p:nvPr/>
        </p:nvGrpSpPr>
        <p:grpSpPr>
          <a:xfrm>
            <a:off x="6811857" y="1481039"/>
            <a:ext cx="5788131" cy="6360328"/>
            <a:chOff x="5686097" y="1481039"/>
            <a:chExt cx="6913891" cy="6360328"/>
          </a:xfrm>
        </p:grpSpPr>
        <p:sp>
          <p:nvSpPr>
            <p:cNvPr id="18" name="TextBox 17"/>
            <p:cNvSpPr txBox="1"/>
            <p:nvPr/>
          </p:nvSpPr>
          <p:spPr>
            <a:xfrm>
              <a:off x="5714477" y="1481039"/>
              <a:ext cx="6885511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предоставляет кредиты Конечным заемщикам с учетом требований Программы. Уполномоченный Банк самостоятельно осуществляют проверку соответствия Проектов и Конечных заемщиков требованиям Программы.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714477" y="2186796"/>
              <a:ext cx="6807287" cy="9387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, предоставивший один либо несколько кредитов Конечным заемщикам, одновременно обращается в Банк России и Корпорацию с заявлениями на получение кредита Банка России и Поручительства Корпорации (с приложением необходимого комплекта документов).</a:t>
              </a:r>
            </a:p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</a:rPr>
                <a:t>Механизм получения кредитов Банка России аналогичен порядку, предусмотренному в Положении Банка России № 312-П для получения кредитов, обеспеченных поручительствами.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5714477" y="3631217"/>
              <a:ext cx="6713894" cy="14465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Корпорация осуществляет проверку документов и не позднее 4-го рабочего дня с даты фактического поступления Заявления в Корпорацию уведомляет Уполномоченный банк об одном из следующих решений:</a:t>
              </a:r>
            </a:p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о предоставлении Поручительства и направлении в Банк России подписанных со стороны Корпорации договоров поручительства;</a:t>
              </a:r>
            </a:p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об отказе в предоставлении Поручительства.</a:t>
              </a:r>
            </a:p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Дополнительно Корпорация направляет в Уполномоченный банк уведомление о размере вознаграждения, необходимого к уплате Банком Корпорации за предоставленное Поручительство.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5686098" y="6150726"/>
              <a:ext cx="6709331" cy="938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Банк России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, в случае принятия Корпорацией положительного решения о предоставлении Поручительства, предоставляет кредит Уполномоченному банку в сроки, указанные в Заявлении на предоставление кредита (в Заявлении должна быть указана дата предоставления кредита Банка России, наступающая не раньше, чем через 5 рабочих и позднее, чем через 10 рабочих дней с даты фактического поступления Заявления в Корпорацию). </a:t>
              </a: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5686097" y="7410480"/>
              <a:ext cx="6837372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 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в течение 3-х рабочих дней с даты получения уведомления о размере вознаграждения осуществляет оплату вознаграждения.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5712144" y="5444969"/>
              <a:ext cx="6713160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Корпорация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.</a:t>
              </a:r>
            </a:p>
          </p:txBody>
        </p:sp>
      </p:grpSp>
      <p:sp>
        <p:nvSpPr>
          <p:cNvPr id="74" name="Скругленный прямоугольник 73"/>
          <p:cNvSpPr/>
          <p:nvPr/>
        </p:nvSpPr>
        <p:spPr>
          <a:xfrm>
            <a:off x="2579332" y="4070585"/>
            <a:ext cx="2605750" cy="904800"/>
          </a:xfrm>
          <a:prstGeom prst="roundRect">
            <a:avLst>
              <a:gd name="adj" fmla="val 6507"/>
            </a:avLst>
          </a:prstGeom>
          <a:solidFill>
            <a:srgbClr val="E7F5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895350"/>
            <a:r>
              <a:rPr lang="ru-RU" sz="1400" b="1" dirty="0" smtClean="0">
                <a:solidFill>
                  <a:schemeClr val="tx1"/>
                </a:solidFill>
              </a:rPr>
              <a:t>Уполномоченный банк</a:t>
            </a:r>
            <a:endParaRPr lang="ru-RU" sz="1100" dirty="0">
              <a:solidFill>
                <a:schemeClr val="tx1"/>
              </a:solidFill>
            </a:endParaRPr>
          </a:p>
        </p:txBody>
      </p:sp>
      <p:grpSp>
        <p:nvGrpSpPr>
          <p:cNvPr id="76" name="Группа 75"/>
          <p:cNvGrpSpPr/>
          <p:nvPr/>
        </p:nvGrpSpPr>
        <p:grpSpPr>
          <a:xfrm>
            <a:off x="2459929" y="2277181"/>
            <a:ext cx="2681804" cy="727120"/>
            <a:chOff x="2157160" y="6383887"/>
            <a:chExt cx="2157585" cy="584988"/>
          </a:xfrm>
        </p:grpSpPr>
        <p:pic>
          <p:nvPicPr>
            <p:cNvPr id="77" name="Рисунок 76"/>
            <p:cNvPicPr>
              <a:picLocks noChangeAspect="1"/>
            </p:cNvPicPr>
            <p:nvPr/>
          </p:nvPicPr>
          <p:blipFill rotWithShape="1">
            <a:blip r:embed="rId2" cstate="print"/>
            <a:srcRect l="2083" t="12026" r="15209" b="51231"/>
            <a:stretch/>
          </p:blipFill>
          <p:spPr>
            <a:xfrm>
              <a:off x="2188611" y="6414476"/>
              <a:ext cx="2097226" cy="523810"/>
            </a:xfrm>
            <a:prstGeom prst="rect">
              <a:avLst/>
            </a:prstGeom>
          </p:spPr>
        </p:pic>
        <p:sp>
          <p:nvSpPr>
            <p:cNvPr id="78" name="Скругленный прямоугольник 77"/>
            <p:cNvSpPr/>
            <p:nvPr/>
          </p:nvSpPr>
          <p:spPr>
            <a:xfrm>
              <a:off x="2157160" y="6383887"/>
              <a:ext cx="2157585" cy="584988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rgbClr val="1F4E79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endParaRPr lang="ru-RU" sz="1100" b="1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04" name="Группа 103"/>
          <p:cNvGrpSpPr/>
          <p:nvPr/>
        </p:nvGrpSpPr>
        <p:grpSpPr>
          <a:xfrm>
            <a:off x="428182" y="5229020"/>
            <a:ext cx="2605749" cy="904800"/>
            <a:chOff x="708483" y="2915947"/>
            <a:chExt cx="2096397" cy="727937"/>
          </a:xfrm>
        </p:grpSpPr>
        <p:sp>
          <p:nvSpPr>
            <p:cNvPr id="93" name="Скругленный прямоугольник 92"/>
            <p:cNvSpPr/>
            <p:nvPr/>
          </p:nvSpPr>
          <p:spPr>
            <a:xfrm>
              <a:off x="708483" y="2915947"/>
              <a:ext cx="2096397" cy="727937"/>
            </a:xfrm>
            <a:prstGeom prst="roundRect">
              <a:avLst>
                <a:gd name="adj" fmla="val 6507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901700"/>
              <a:r>
                <a:rPr lang="ru-RU" sz="1400" b="1" dirty="0">
                  <a:solidFill>
                    <a:schemeClr val="bg1"/>
                  </a:solidFill>
                </a:rPr>
                <a:t>Конечные заемщики</a:t>
              </a:r>
            </a:p>
          </p:txBody>
        </p:sp>
        <p:sp>
          <p:nvSpPr>
            <p:cNvPr id="94" name="Freeform 25"/>
            <p:cNvSpPr>
              <a:spLocks noChangeAspect="1" noEditPoints="1"/>
            </p:cNvSpPr>
            <p:nvPr/>
          </p:nvSpPr>
          <p:spPr bwMode="auto">
            <a:xfrm>
              <a:off x="813328" y="3041733"/>
              <a:ext cx="541787" cy="476366"/>
            </a:xfrm>
            <a:custGeom>
              <a:avLst/>
              <a:gdLst/>
              <a:ahLst/>
              <a:cxnLst>
                <a:cxn ang="0">
                  <a:pos x="82" y="72"/>
                </a:cxn>
                <a:cxn ang="0">
                  <a:pos x="81" y="55"/>
                </a:cxn>
                <a:cxn ang="0">
                  <a:pos x="70" y="49"/>
                </a:cxn>
                <a:cxn ang="0">
                  <a:pos x="62" y="39"/>
                </a:cxn>
                <a:cxn ang="0">
                  <a:pos x="65" y="32"/>
                </a:cxn>
                <a:cxn ang="0">
                  <a:pos x="67" y="28"/>
                </a:cxn>
                <a:cxn ang="0">
                  <a:pos x="66" y="25"/>
                </a:cxn>
                <a:cxn ang="0">
                  <a:pos x="67" y="20"/>
                </a:cxn>
                <a:cxn ang="0">
                  <a:pos x="57" y="11"/>
                </a:cxn>
                <a:cxn ang="0">
                  <a:pos x="47" y="20"/>
                </a:cxn>
                <a:cxn ang="0">
                  <a:pos x="48" y="25"/>
                </a:cxn>
                <a:cxn ang="0">
                  <a:pos x="47" y="28"/>
                </a:cxn>
                <a:cxn ang="0">
                  <a:pos x="49" y="32"/>
                </a:cxn>
                <a:cxn ang="0">
                  <a:pos x="52" y="39"/>
                </a:cxn>
                <a:cxn ang="0">
                  <a:pos x="48" y="46"/>
                </a:cxn>
                <a:cxn ang="0">
                  <a:pos x="63" y="60"/>
                </a:cxn>
                <a:cxn ang="0">
                  <a:pos x="63" y="72"/>
                </a:cxn>
                <a:cxn ang="0">
                  <a:pos x="82" y="72"/>
                </a:cxn>
                <a:cxn ang="0">
                  <a:pos x="42" y="51"/>
                </a:cxn>
                <a:cxn ang="0">
                  <a:pos x="31" y="39"/>
                </a:cxn>
                <a:cxn ang="0">
                  <a:pos x="35" y="29"/>
                </a:cxn>
                <a:cxn ang="0">
                  <a:pos x="38" y="23"/>
                </a:cxn>
                <a:cxn ang="0">
                  <a:pos x="37" y="20"/>
                </a:cxn>
                <a:cxn ang="0">
                  <a:pos x="37" y="13"/>
                </a:cxn>
                <a:cxn ang="0">
                  <a:pos x="24" y="0"/>
                </a:cxn>
                <a:cxn ang="0">
                  <a:pos x="11" y="13"/>
                </a:cxn>
                <a:cxn ang="0">
                  <a:pos x="12" y="20"/>
                </a:cxn>
                <a:cxn ang="0">
                  <a:pos x="11" y="23"/>
                </a:cxn>
                <a:cxn ang="0">
                  <a:pos x="14" y="29"/>
                </a:cxn>
                <a:cxn ang="0">
                  <a:pos x="18" y="39"/>
                </a:cxn>
                <a:cxn ang="0">
                  <a:pos x="7" y="51"/>
                </a:cxn>
                <a:cxn ang="0">
                  <a:pos x="0" y="57"/>
                </a:cxn>
                <a:cxn ang="0">
                  <a:pos x="0" y="72"/>
                </a:cxn>
                <a:cxn ang="0">
                  <a:pos x="57" y="72"/>
                </a:cxn>
                <a:cxn ang="0">
                  <a:pos x="57" y="61"/>
                </a:cxn>
                <a:cxn ang="0">
                  <a:pos x="42" y="51"/>
                </a:cxn>
              </a:cxnLst>
              <a:rect l="0" t="0" r="r" b="b"/>
              <a:pathLst>
                <a:path w="82" h="72">
                  <a:moveTo>
                    <a:pt x="82" y="72"/>
                  </a:moveTo>
                  <a:cubicBezTo>
                    <a:pt x="82" y="72"/>
                    <a:pt x="82" y="57"/>
                    <a:pt x="81" y="55"/>
                  </a:cubicBezTo>
                  <a:cubicBezTo>
                    <a:pt x="79" y="53"/>
                    <a:pt x="76" y="51"/>
                    <a:pt x="70" y="49"/>
                  </a:cubicBezTo>
                  <a:cubicBezTo>
                    <a:pt x="64" y="46"/>
                    <a:pt x="62" y="44"/>
                    <a:pt x="62" y="39"/>
                  </a:cubicBezTo>
                  <a:cubicBezTo>
                    <a:pt x="62" y="37"/>
                    <a:pt x="64" y="37"/>
                    <a:pt x="65" y="32"/>
                  </a:cubicBezTo>
                  <a:cubicBezTo>
                    <a:pt x="65" y="30"/>
                    <a:pt x="67" y="32"/>
                    <a:pt x="67" y="28"/>
                  </a:cubicBezTo>
                  <a:cubicBezTo>
                    <a:pt x="67" y="26"/>
                    <a:pt x="66" y="25"/>
                    <a:pt x="66" y="25"/>
                  </a:cubicBezTo>
                  <a:cubicBezTo>
                    <a:pt x="66" y="25"/>
                    <a:pt x="67" y="22"/>
                    <a:pt x="67" y="20"/>
                  </a:cubicBezTo>
                  <a:cubicBezTo>
                    <a:pt x="67" y="18"/>
                    <a:pt x="65" y="11"/>
                    <a:pt x="57" y="11"/>
                  </a:cubicBezTo>
                  <a:cubicBezTo>
                    <a:pt x="49" y="11"/>
                    <a:pt x="47" y="18"/>
                    <a:pt x="47" y="20"/>
                  </a:cubicBezTo>
                  <a:cubicBezTo>
                    <a:pt x="47" y="22"/>
                    <a:pt x="48" y="25"/>
                    <a:pt x="48" y="25"/>
                  </a:cubicBezTo>
                  <a:cubicBezTo>
                    <a:pt x="48" y="25"/>
                    <a:pt x="47" y="26"/>
                    <a:pt x="47" y="28"/>
                  </a:cubicBezTo>
                  <a:cubicBezTo>
                    <a:pt x="47" y="32"/>
                    <a:pt x="49" y="30"/>
                    <a:pt x="49" y="32"/>
                  </a:cubicBezTo>
                  <a:cubicBezTo>
                    <a:pt x="50" y="37"/>
                    <a:pt x="52" y="37"/>
                    <a:pt x="52" y="39"/>
                  </a:cubicBezTo>
                  <a:cubicBezTo>
                    <a:pt x="52" y="42"/>
                    <a:pt x="51" y="44"/>
                    <a:pt x="48" y="46"/>
                  </a:cubicBezTo>
                  <a:cubicBezTo>
                    <a:pt x="62" y="53"/>
                    <a:pt x="63" y="54"/>
                    <a:pt x="63" y="60"/>
                  </a:cubicBezTo>
                  <a:cubicBezTo>
                    <a:pt x="63" y="72"/>
                    <a:pt x="63" y="72"/>
                    <a:pt x="63" y="72"/>
                  </a:cubicBezTo>
                  <a:lnTo>
                    <a:pt x="82" y="72"/>
                  </a:lnTo>
                  <a:close/>
                  <a:moveTo>
                    <a:pt x="42" y="51"/>
                  </a:moveTo>
                  <a:cubicBezTo>
                    <a:pt x="34" y="47"/>
                    <a:pt x="31" y="45"/>
                    <a:pt x="31" y="39"/>
                  </a:cubicBezTo>
                  <a:cubicBezTo>
                    <a:pt x="31" y="35"/>
                    <a:pt x="34" y="36"/>
                    <a:pt x="35" y="29"/>
                  </a:cubicBezTo>
                  <a:cubicBezTo>
                    <a:pt x="35" y="27"/>
                    <a:pt x="37" y="29"/>
                    <a:pt x="38" y="23"/>
                  </a:cubicBezTo>
                  <a:cubicBezTo>
                    <a:pt x="38" y="20"/>
                    <a:pt x="37" y="20"/>
                    <a:pt x="37" y="20"/>
                  </a:cubicBezTo>
                  <a:cubicBezTo>
                    <a:pt x="37" y="20"/>
                    <a:pt x="37" y="16"/>
                    <a:pt x="37" y="13"/>
                  </a:cubicBezTo>
                  <a:cubicBezTo>
                    <a:pt x="38" y="10"/>
                    <a:pt x="36" y="0"/>
                    <a:pt x="24" y="0"/>
                  </a:cubicBezTo>
                  <a:cubicBezTo>
                    <a:pt x="13" y="0"/>
                    <a:pt x="11" y="10"/>
                    <a:pt x="11" y="13"/>
                  </a:cubicBezTo>
                  <a:cubicBezTo>
                    <a:pt x="12" y="16"/>
                    <a:pt x="12" y="20"/>
                    <a:pt x="12" y="20"/>
                  </a:cubicBezTo>
                  <a:cubicBezTo>
                    <a:pt x="12" y="20"/>
                    <a:pt x="11" y="20"/>
                    <a:pt x="11" y="23"/>
                  </a:cubicBezTo>
                  <a:cubicBezTo>
                    <a:pt x="11" y="29"/>
                    <a:pt x="14" y="27"/>
                    <a:pt x="14" y="29"/>
                  </a:cubicBezTo>
                  <a:cubicBezTo>
                    <a:pt x="15" y="36"/>
                    <a:pt x="18" y="35"/>
                    <a:pt x="18" y="39"/>
                  </a:cubicBezTo>
                  <a:cubicBezTo>
                    <a:pt x="18" y="45"/>
                    <a:pt x="15" y="47"/>
                    <a:pt x="7" y="51"/>
                  </a:cubicBezTo>
                  <a:cubicBezTo>
                    <a:pt x="4" y="52"/>
                    <a:pt x="0" y="53"/>
                    <a:pt x="0" y="57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63"/>
                    <a:pt x="57" y="61"/>
                  </a:cubicBezTo>
                  <a:cubicBezTo>
                    <a:pt x="57" y="58"/>
                    <a:pt x="50" y="54"/>
                    <a:pt x="42" y="5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pPr defTabSz="986912" fontAlgn="base">
                <a:spcBef>
                  <a:spcPct val="0"/>
                </a:spcBef>
                <a:spcAft>
                  <a:spcPct val="0"/>
                </a:spcAft>
              </a:pPr>
              <a:endParaRPr lang="en-GB" sz="205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129" name="Группа 128"/>
          <p:cNvGrpSpPr/>
          <p:nvPr/>
        </p:nvGrpSpPr>
        <p:grpSpPr>
          <a:xfrm>
            <a:off x="3757326" y="6041672"/>
            <a:ext cx="1162374" cy="1169563"/>
            <a:chOff x="3290392" y="4915070"/>
            <a:chExt cx="935162" cy="940946"/>
          </a:xfrm>
        </p:grpSpPr>
        <p:pic>
          <p:nvPicPr>
            <p:cNvPr id="55" name="Рисунок 5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22742" y="5047672"/>
              <a:ext cx="670463" cy="675742"/>
            </a:xfrm>
            <a:prstGeom prst="rect">
              <a:avLst/>
            </a:prstGeom>
          </p:spPr>
        </p:pic>
        <p:sp>
          <p:nvSpPr>
            <p:cNvPr id="98" name="Скругленный прямоугольник 97"/>
            <p:cNvSpPr/>
            <p:nvPr/>
          </p:nvSpPr>
          <p:spPr>
            <a:xfrm>
              <a:off x="3290392" y="4915070"/>
              <a:ext cx="935162" cy="940946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chemeClr val="tx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endParaRPr lang="ru-RU" sz="1100" b="1" dirty="0" smtClean="0">
                <a:solidFill>
                  <a:schemeClr val="tx1"/>
                </a:solidFill>
              </a:endParaRPr>
            </a:p>
          </p:txBody>
        </p:sp>
      </p:grpSp>
      <p:cxnSp>
        <p:nvCxnSpPr>
          <p:cNvPr id="101" name="Elbow Connector 187"/>
          <p:cNvCxnSpPr>
            <a:stCxn id="78" idx="3"/>
            <a:endCxn id="98" idx="3"/>
          </p:cNvCxnSpPr>
          <p:nvPr/>
        </p:nvCxnSpPr>
        <p:spPr>
          <a:xfrm flipH="1">
            <a:off x="4919700" y="2640741"/>
            <a:ext cx="222033" cy="3985713"/>
          </a:xfrm>
          <a:prstGeom prst="bentConnector3">
            <a:avLst>
              <a:gd name="adj1" fmla="val -102958"/>
            </a:avLst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Elbow Connector 187"/>
          <p:cNvCxnSpPr>
            <a:stCxn id="74" idx="1"/>
            <a:endCxn id="93" idx="0"/>
          </p:cNvCxnSpPr>
          <p:nvPr/>
        </p:nvCxnSpPr>
        <p:spPr>
          <a:xfrm rot="10800000" flipV="1">
            <a:off x="1731058" y="4522984"/>
            <a:ext cx="848275" cy="706035"/>
          </a:xfrm>
          <a:prstGeom prst="bentConnector2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Прямая со стрелкой 124"/>
          <p:cNvCxnSpPr/>
          <p:nvPr/>
        </p:nvCxnSpPr>
        <p:spPr>
          <a:xfrm flipV="1">
            <a:off x="4338262" y="5029201"/>
            <a:ext cx="0" cy="961267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 стрелкой 123"/>
          <p:cNvCxnSpPr/>
          <p:nvPr/>
        </p:nvCxnSpPr>
        <p:spPr>
          <a:xfrm flipV="1">
            <a:off x="3099773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Прямая со стрелкой 126"/>
          <p:cNvCxnSpPr/>
          <p:nvPr/>
        </p:nvCxnSpPr>
        <p:spPr>
          <a:xfrm>
            <a:off x="3364561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/>
          <p:cNvCxnSpPr/>
          <p:nvPr/>
        </p:nvCxnSpPr>
        <p:spPr>
          <a:xfrm flipV="1">
            <a:off x="4338262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Oval 292"/>
          <p:cNvSpPr/>
          <p:nvPr/>
        </p:nvSpPr>
        <p:spPr>
          <a:xfrm>
            <a:off x="4429236" y="5681420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  <a:cs typeface="+mn-cs"/>
              </a:rPr>
              <a:t>5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6" name="Oval 292"/>
          <p:cNvSpPr/>
          <p:nvPr/>
        </p:nvSpPr>
        <p:spPr>
          <a:xfrm>
            <a:off x="5205706" y="2186796"/>
            <a:ext cx="369808" cy="369808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Oval 292"/>
          <p:cNvSpPr/>
          <p:nvPr/>
        </p:nvSpPr>
        <p:spPr>
          <a:xfrm>
            <a:off x="2717584" y="367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39" name="Oval 292"/>
          <p:cNvSpPr/>
          <p:nvPr/>
        </p:nvSpPr>
        <p:spPr>
          <a:xfrm>
            <a:off x="3447768" y="3054534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0" name="Oval 292"/>
          <p:cNvSpPr/>
          <p:nvPr/>
        </p:nvSpPr>
        <p:spPr>
          <a:xfrm>
            <a:off x="2249142" y="415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Oval 292"/>
          <p:cNvSpPr/>
          <p:nvPr/>
        </p:nvSpPr>
        <p:spPr>
          <a:xfrm>
            <a:off x="4429236" y="367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1" name="Oval 292"/>
          <p:cNvSpPr/>
          <p:nvPr/>
        </p:nvSpPr>
        <p:spPr>
          <a:xfrm>
            <a:off x="6461959" y="1572280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2" name="Oval 292"/>
          <p:cNvSpPr/>
          <p:nvPr/>
        </p:nvSpPr>
        <p:spPr>
          <a:xfrm>
            <a:off x="6461959" y="2252657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3" name="Oval 292"/>
          <p:cNvSpPr/>
          <p:nvPr/>
        </p:nvSpPr>
        <p:spPr>
          <a:xfrm>
            <a:off x="6461959" y="3703550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4" name="Oval 292"/>
          <p:cNvSpPr/>
          <p:nvPr/>
        </p:nvSpPr>
        <p:spPr>
          <a:xfrm>
            <a:off x="6461959" y="5517302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5" name="Oval 292"/>
          <p:cNvSpPr/>
          <p:nvPr/>
        </p:nvSpPr>
        <p:spPr>
          <a:xfrm>
            <a:off x="6461959" y="6245766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6" name="Oval 292"/>
          <p:cNvSpPr/>
          <p:nvPr/>
        </p:nvSpPr>
        <p:spPr>
          <a:xfrm>
            <a:off x="6461959" y="7424007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5" name="Группа 44"/>
          <p:cNvGrpSpPr/>
          <p:nvPr/>
        </p:nvGrpSpPr>
        <p:grpSpPr>
          <a:xfrm>
            <a:off x="2411576" y="3900629"/>
            <a:ext cx="1244710" cy="1244710"/>
            <a:chOff x="-1167900" y="2055274"/>
            <a:chExt cx="2233307" cy="2233307"/>
          </a:xfrm>
        </p:grpSpPr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167900" y="2055274"/>
              <a:ext cx="2233307" cy="2233307"/>
            </a:xfrm>
            <a:prstGeom prst="rect">
              <a:avLst/>
            </a:prstGeom>
          </p:spPr>
        </p:pic>
        <p:sp>
          <p:nvSpPr>
            <p:cNvPr id="47" name="Овал 46"/>
            <p:cNvSpPr/>
            <p:nvPr/>
          </p:nvSpPr>
          <p:spPr>
            <a:xfrm>
              <a:off x="-388997" y="2868348"/>
              <a:ext cx="650389" cy="65038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800" dirty="0" smtClean="0"/>
                <a:t>₽</a:t>
              </a:r>
              <a:endParaRPr lang="ru-RU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871589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767874" y="2764472"/>
            <a:ext cx="11064240" cy="3111818"/>
          </a:xfrm>
          <a:prstGeom prst="rect">
            <a:avLst/>
          </a:prstGeom>
          <a:solidFill>
            <a:srgbClr val="E7F5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Акционерное общество «Федеральная корпорация </a:t>
            </a:r>
            <a:b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</a:br>
            <a: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развитию малого и среднего предпринимательства»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Москва, Славянская площадь, д. 4, стр. 1, тел. +7 495 698 98 00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www.corpmsp.ru</a:t>
            </a:r>
            <a:r>
              <a:rPr lang="ru-RU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, </a:t>
            </a:r>
            <a:r>
              <a:rPr lang="en-US" sz="2800" u="sng" dirty="0">
                <a:hlinkClick r:id="rId2"/>
              </a:rPr>
              <a:t>info</a:t>
            </a:r>
            <a:r>
              <a:rPr lang="ru-RU" sz="2800" u="sng" dirty="0">
                <a:hlinkClick r:id="rId2"/>
              </a:rPr>
              <a:t>@</a:t>
            </a:r>
            <a:r>
              <a:rPr lang="en-US" sz="2800" u="sng" dirty="0" err="1">
                <a:hlinkClick r:id="rId2"/>
              </a:rPr>
              <a:t>corpmsp</a:t>
            </a:r>
            <a:r>
              <a:rPr lang="ru-RU" sz="2800" u="sng" dirty="0">
                <a:hlinkClick r:id="rId2"/>
              </a:rPr>
              <a:t>.</a:t>
            </a:r>
            <a:r>
              <a:rPr lang="en-US" sz="2800" u="sng" dirty="0" err="1">
                <a:hlinkClick r:id="rId2"/>
              </a:rPr>
              <a:t>ru</a:t>
            </a:r>
            <a:r>
              <a:rPr lang="ru-RU" sz="2800" dirty="0"/>
              <a:t>.</a:t>
            </a:r>
            <a:endParaRPr lang="en-GB" sz="28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9734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Скругленный прямоугольник 36"/>
          <p:cNvSpPr/>
          <p:nvPr/>
        </p:nvSpPr>
        <p:spPr>
          <a:xfrm>
            <a:off x="370506" y="5894354"/>
            <a:ext cx="5778438" cy="1162536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370506" y="7159684"/>
            <a:ext cx="5778438" cy="1279466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6266189" y="4452598"/>
            <a:ext cx="5988514" cy="1338837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6266189" y="5894354"/>
            <a:ext cx="5988514" cy="1169504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6266189" y="7159684"/>
            <a:ext cx="5988514" cy="1279466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370506" y="4443797"/>
            <a:ext cx="5778438" cy="1347638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29374" y="313959"/>
            <a:ext cx="8619405" cy="852156"/>
          </a:xfrm>
        </p:spPr>
        <p:txBody>
          <a:bodyPr/>
          <a:lstStyle/>
          <a:p>
            <a:r>
              <a:rPr lang="ru-RU" dirty="0"/>
              <a:t>О </a:t>
            </a:r>
            <a:r>
              <a:rPr lang="ru-RU" dirty="0" smtClean="0"/>
              <a:t>Корпорации. Основные задачи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501678" y="3596413"/>
            <a:ext cx="11884197" cy="725733"/>
          </a:xfrm>
        </p:spPr>
        <p:txBody>
          <a:bodyPr anchor="b"/>
          <a:lstStyle/>
          <a:p>
            <a:r>
              <a:rPr lang="ru-RU" b="1" dirty="0"/>
              <a:t>«Единое окно» по оказанию поддержки субъектам МСП и организациям </a:t>
            </a:r>
            <a:r>
              <a:rPr lang="ru-RU" b="1" dirty="0" smtClean="0"/>
              <a:t>инфраструктуры</a:t>
            </a:r>
            <a:endParaRPr lang="ru-RU" b="1" dirty="0"/>
          </a:p>
        </p:txBody>
      </p:sp>
      <p:sp>
        <p:nvSpPr>
          <p:cNvPr id="49" name="Прямоугольник 48"/>
          <p:cNvSpPr/>
          <p:nvPr/>
        </p:nvSpPr>
        <p:spPr>
          <a:xfrm>
            <a:off x="2065775" y="4639348"/>
            <a:ext cx="4176000" cy="1138151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 smtClean="0">
                <a:latin typeface="+mn-lt"/>
                <a:cs typeface="+mn-cs"/>
              </a:rPr>
              <a:t>Финансирование - привлечение денежных </a:t>
            </a:r>
            <a:r>
              <a:rPr lang="ru-RU" sz="1600" dirty="0">
                <a:latin typeface="+mn-lt"/>
                <a:cs typeface="+mn-cs"/>
              </a:rPr>
              <a:t>средств российских, иностранных и международных организаций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2065775" y="5772150"/>
            <a:ext cx="4176000" cy="1291708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Гарантийная поддержка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2065775" y="7159684"/>
            <a:ext cx="4176000" cy="1279466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Сопровождение инвестиционных проектов МСП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7961458" y="4639348"/>
            <a:ext cx="4176000" cy="1138151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Расширение доступа к государственным закупкам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7961458" y="5772150"/>
            <a:ext cx="4176000" cy="1291708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Помощь во взаимодействии с органами власти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7961458" y="7159684"/>
            <a:ext cx="4176000" cy="1279466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Развитие законодательства в сфере МСП</a:t>
            </a:r>
          </a:p>
        </p:txBody>
      </p:sp>
      <p:grpSp>
        <p:nvGrpSpPr>
          <p:cNvPr id="65" name="Группа 64"/>
          <p:cNvGrpSpPr/>
          <p:nvPr/>
        </p:nvGrpSpPr>
        <p:grpSpPr>
          <a:xfrm>
            <a:off x="6718481" y="7283810"/>
            <a:ext cx="790685" cy="991320"/>
            <a:chOff x="2992411" y="6448107"/>
            <a:chExt cx="869753" cy="1241420"/>
          </a:xfrm>
        </p:grpSpPr>
        <p:grpSp>
          <p:nvGrpSpPr>
            <p:cNvPr id="60" name="Group 70"/>
            <p:cNvGrpSpPr/>
            <p:nvPr/>
          </p:nvGrpSpPr>
          <p:grpSpPr>
            <a:xfrm>
              <a:off x="2992411" y="6448107"/>
              <a:ext cx="869753" cy="1241420"/>
              <a:chOff x="9005888" y="7118350"/>
              <a:chExt cx="360363" cy="514350"/>
            </a:xfrm>
            <a:solidFill>
              <a:schemeClr val="tx1"/>
            </a:solidFill>
          </p:grpSpPr>
          <p:sp>
            <p:nvSpPr>
              <p:cNvPr id="61" name="Freeform 336"/>
              <p:cNvSpPr>
                <a:spLocks/>
              </p:cNvSpPr>
              <p:nvPr/>
            </p:nvSpPr>
            <p:spPr bwMode="auto">
              <a:xfrm>
                <a:off x="9005888" y="7493000"/>
                <a:ext cx="339725" cy="139700"/>
              </a:xfrm>
              <a:custGeom>
                <a:avLst/>
                <a:gdLst>
                  <a:gd name="T0" fmla="*/ 100 w 116"/>
                  <a:gd name="T1" fmla="*/ 48 h 48"/>
                  <a:gd name="T2" fmla="*/ 17 w 116"/>
                  <a:gd name="T3" fmla="*/ 48 h 48"/>
                  <a:gd name="T4" fmla="*/ 0 w 116"/>
                  <a:gd name="T5" fmla="*/ 31 h 48"/>
                  <a:gd name="T6" fmla="*/ 0 w 116"/>
                  <a:gd name="T7" fmla="*/ 0 h 48"/>
                  <a:gd name="T8" fmla="*/ 12 w 116"/>
                  <a:gd name="T9" fmla="*/ 0 h 48"/>
                  <a:gd name="T10" fmla="*/ 12 w 116"/>
                  <a:gd name="T11" fmla="*/ 31 h 48"/>
                  <a:gd name="T12" fmla="*/ 17 w 116"/>
                  <a:gd name="T13" fmla="*/ 36 h 48"/>
                  <a:gd name="T14" fmla="*/ 100 w 116"/>
                  <a:gd name="T15" fmla="*/ 36 h 48"/>
                  <a:gd name="T16" fmla="*/ 104 w 116"/>
                  <a:gd name="T17" fmla="*/ 31 h 48"/>
                  <a:gd name="T18" fmla="*/ 104 w 116"/>
                  <a:gd name="T19" fmla="*/ 25 h 48"/>
                  <a:gd name="T20" fmla="*/ 116 w 116"/>
                  <a:gd name="T21" fmla="*/ 25 h 48"/>
                  <a:gd name="T22" fmla="*/ 116 w 116"/>
                  <a:gd name="T23" fmla="*/ 31 h 48"/>
                  <a:gd name="T24" fmla="*/ 100 w 116"/>
                  <a:gd name="T25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" h="48">
                    <a:moveTo>
                      <a:pt x="100" y="48"/>
                    </a:moveTo>
                    <a:cubicBezTo>
                      <a:pt x="17" y="48"/>
                      <a:pt x="17" y="48"/>
                      <a:pt x="17" y="48"/>
                    </a:cubicBezTo>
                    <a:cubicBezTo>
                      <a:pt x="8" y="48"/>
                      <a:pt x="0" y="40"/>
                      <a:pt x="0" y="3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31"/>
                      <a:pt x="12" y="31"/>
                      <a:pt x="12" y="31"/>
                    </a:cubicBezTo>
                    <a:cubicBezTo>
                      <a:pt x="12" y="34"/>
                      <a:pt x="14" y="36"/>
                      <a:pt x="17" y="36"/>
                    </a:cubicBezTo>
                    <a:cubicBezTo>
                      <a:pt x="100" y="36"/>
                      <a:pt x="100" y="36"/>
                      <a:pt x="100" y="36"/>
                    </a:cubicBezTo>
                    <a:cubicBezTo>
                      <a:pt x="102" y="36"/>
                      <a:pt x="104" y="34"/>
                      <a:pt x="104" y="31"/>
                    </a:cubicBezTo>
                    <a:cubicBezTo>
                      <a:pt x="104" y="25"/>
                      <a:pt x="104" y="25"/>
                      <a:pt x="104" y="25"/>
                    </a:cubicBezTo>
                    <a:cubicBezTo>
                      <a:pt x="116" y="25"/>
                      <a:pt x="116" y="25"/>
                      <a:pt x="116" y="25"/>
                    </a:cubicBezTo>
                    <a:cubicBezTo>
                      <a:pt x="116" y="31"/>
                      <a:pt x="116" y="31"/>
                      <a:pt x="116" y="31"/>
                    </a:cubicBezTo>
                    <a:cubicBezTo>
                      <a:pt x="116" y="40"/>
                      <a:pt x="109" y="48"/>
                      <a:pt x="100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63" name="Freeform 338"/>
              <p:cNvSpPr>
                <a:spLocks/>
              </p:cNvSpPr>
              <p:nvPr/>
            </p:nvSpPr>
            <p:spPr bwMode="auto">
              <a:xfrm>
                <a:off x="9005888" y="7118350"/>
                <a:ext cx="360363" cy="458788"/>
              </a:xfrm>
              <a:custGeom>
                <a:avLst/>
                <a:gdLst>
                  <a:gd name="T0" fmla="*/ 32 w 123"/>
                  <a:gd name="T1" fmla="*/ 157 h 157"/>
                  <a:gd name="T2" fmla="*/ 20 w 123"/>
                  <a:gd name="T3" fmla="*/ 157 h 157"/>
                  <a:gd name="T4" fmla="*/ 20 w 123"/>
                  <a:gd name="T5" fmla="*/ 154 h 157"/>
                  <a:gd name="T6" fmla="*/ 38 w 123"/>
                  <a:gd name="T7" fmla="*/ 136 h 157"/>
                  <a:gd name="T8" fmla="*/ 107 w 123"/>
                  <a:gd name="T9" fmla="*/ 136 h 157"/>
                  <a:gd name="T10" fmla="*/ 111 w 123"/>
                  <a:gd name="T11" fmla="*/ 131 h 157"/>
                  <a:gd name="T12" fmla="*/ 111 w 123"/>
                  <a:gd name="T13" fmla="*/ 17 h 157"/>
                  <a:gd name="T14" fmla="*/ 107 w 123"/>
                  <a:gd name="T15" fmla="*/ 12 h 157"/>
                  <a:gd name="T16" fmla="*/ 17 w 123"/>
                  <a:gd name="T17" fmla="*/ 12 h 157"/>
                  <a:gd name="T18" fmla="*/ 12 w 123"/>
                  <a:gd name="T19" fmla="*/ 17 h 157"/>
                  <a:gd name="T20" fmla="*/ 12 w 123"/>
                  <a:gd name="T21" fmla="*/ 144 h 157"/>
                  <a:gd name="T22" fmla="*/ 0 w 123"/>
                  <a:gd name="T23" fmla="*/ 144 h 157"/>
                  <a:gd name="T24" fmla="*/ 0 w 123"/>
                  <a:gd name="T25" fmla="*/ 17 h 157"/>
                  <a:gd name="T26" fmla="*/ 17 w 123"/>
                  <a:gd name="T27" fmla="*/ 0 h 157"/>
                  <a:gd name="T28" fmla="*/ 107 w 123"/>
                  <a:gd name="T29" fmla="*/ 0 h 157"/>
                  <a:gd name="T30" fmla="*/ 123 w 123"/>
                  <a:gd name="T31" fmla="*/ 17 h 157"/>
                  <a:gd name="T32" fmla="*/ 123 w 123"/>
                  <a:gd name="T33" fmla="*/ 131 h 157"/>
                  <a:gd name="T34" fmla="*/ 107 w 123"/>
                  <a:gd name="T35" fmla="*/ 148 h 157"/>
                  <a:gd name="T36" fmla="*/ 38 w 123"/>
                  <a:gd name="T37" fmla="*/ 148 h 157"/>
                  <a:gd name="T38" fmla="*/ 32 w 123"/>
                  <a:gd name="T39" fmla="*/ 154 h 157"/>
                  <a:gd name="T40" fmla="*/ 32 w 123"/>
                  <a:gd name="T41" fmla="*/ 15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3" h="157">
                    <a:moveTo>
                      <a:pt x="32" y="157"/>
                    </a:moveTo>
                    <a:cubicBezTo>
                      <a:pt x="20" y="157"/>
                      <a:pt x="20" y="157"/>
                      <a:pt x="20" y="157"/>
                    </a:cubicBezTo>
                    <a:cubicBezTo>
                      <a:pt x="20" y="154"/>
                      <a:pt x="20" y="154"/>
                      <a:pt x="20" y="154"/>
                    </a:cubicBezTo>
                    <a:cubicBezTo>
                      <a:pt x="20" y="144"/>
                      <a:pt x="28" y="136"/>
                      <a:pt x="38" y="136"/>
                    </a:cubicBezTo>
                    <a:cubicBezTo>
                      <a:pt x="107" y="136"/>
                      <a:pt x="107" y="136"/>
                      <a:pt x="107" y="136"/>
                    </a:cubicBezTo>
                    <a:cubicBezTo>
                      <a:pt x="109" y="136"/>
                      <a:pt x="111" y="134"/>
                      <a:pt x="111" y="131"/>
                    </a:cubicBezTo>
                    <a:cubicBezTo>
                      <a:pt x="111" y="17"/>
                      <a:pt x="111" y="17"/>
                      <a:pt x="111" y="17"/>
                    </a:cubicBezTo>
                    <a:cubicBezTo>
                      <a:pt x="111" y="14"/>
                      <a:pt x="109" y="12"/>
                      <a:pt x="107" y="12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4" y="12"/>
                      <a:pt x="12" y="14"/>
                      <a:pt x="12" y="17"/>
                    </a:cubicBezTo>
                    <a:cubicBezTo>
                      <a:pt x="12" y="144"/>
                      <a:pt x="12" y="144"/>
                      <a:pt x="12" y="144"/>
                    </a:cubicBezTo>
                    <a:cubicBezTo>
                      <a:pt x="0" y="144"/>
                      <a:pt x="0" y="144"/>
                      <a:pt x="0" y="14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107" y="0"/>
                      <a:pt x="107" y="0"/>
                      <a:pt x="107" y="0"/>
                    </a:cubicBezTo>
                    <a:cubicBezTo>
                      <a:pt x="116" y="0"/>
                      <a:pt x="123" y="8"/>
                      <a:pt x="123" y="17"/>
                    </a:cubicBezTo>
                    <a:cubicBezTo>
                      <a:pt x="123" y="131"/>
                      <a:pt x="123" y="131"/>
                      <a:pt x="123" y="131"/>
                    </a:cubicBezTo>
                    <a:cubicBezTo>
                      <a:pt x="123" y="140"/>
                      <a:pt x="116" y="148"/>
                      <a:pt x="107" y="148"/>
                    </a:cubicBezTo>
                    <a:cubicBezTo>
                      <a:pt x="38" y="148"/>
                      <a:pt x="38" y="148"/>
                      <a:pt x="38" y="148"/>
                    </a:cubicBezTo>
                    <a:cubicBezTo>
                      <a:pt x="35" y="148"/>
                      <a:pt x="32" y="150"/>
                      <a:pt x="32" y="154"/>
                    </a:cubicBezTo>
                    <a:lnTo>
                      <a:pt x="32" y="1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64" name="Прямоугольник 63"/>
            <p:cNvSpPr/>
            <p:nvPr/>
          </p:nvSpPr>
          <p:spPr>
            <a:xfrm>
              <a:off x="3078887" y="6738288"/>
              <a:ext cx="696730" cy="19415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400" b="1" dirty="0" smtClean="0">
                  <a:latin typeface="+mn-lt"/>
                  <a:cs typeface="+mn-cs"/>
                </a:rPr>
                <a:t>Закон</a:t>
              </a:r>
              <a:endParaRPr lang="ru-RU" sz="1400" b="1" dirty="0">
                <a:latin typeface="+mn-lt"/>
                <a:cs typeface="+mn-cs"/>
              </a:endParaRPr>
            </a:p>
          </p:txBody>
        </p:sp>
      </p:grpSp>
      <p:cxnSp>
        <p:nvCxnSpPr>
          <p:cNvPr id="89" name="Прямая соединительная линия 88"/>
          <p:cNvCxnSpPr/>
          <p:nvPr/>
        </p:nvCxnSpPr>
        <p:spPr>
          <a:xfrm>
            <a:off x="363538" y="4384358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Прямоугольник 41"/>
          <p:cNvSpPr/>
          <p:nvPr/>
        </p:nvSpPr>
        <p:spPr>
          <a:xfrm>
            <a:off x="6352209" y="4443797"/>
            <a:ext cx="1337582" cy="405375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algn="ctr" defTabSz="957263">
              <a:lnSpc>
                <a:spcPct val="106000"/>
              </a:lnSpc>
              <a:spcBef>
                <a:spcPts val="1800"/>
              </a:spcBef>
            </a:pPr>
            <a:r>
              <a:rPr lang="ru-RU" sz="1400" b="1" dirty="0" smtClean="0">
                <a:latin typeface="+mn-lt"/>
                <a:cs typeface="+mn-cs"/>
              </a:rPr>
              <a:t>ГОСЗАКАЗ</a:t>
            </a:r>
            <a:endParaRPr lang="ru-RU" sz="1400" b="1" dirty="0">
              <a:latin typeface="+mn-lt"/>
              <a:cs typeface="+mn-cs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3181" b="9094"/>
          <a:stretch/>
        </p:blipFill>
        <p:spPr>
          <a:xfrm>
            <a:off x="6553733" y="5894354"/>
            <a:ext cx="1007003" cy="1092457"/>
          </a:xfrm>
          <a:prstGeom prst="rect">
            <a:avLst/>
          </a:prstGeom>
        </p:spPr>
      </p:pic>
      <p:grpSp>
        <p:nvGrpSpPr>
          <p:cNvPr id="88" name="Группа 87"/>
          <p:cNvGrpSpPr/>
          <p:nvPr/>
        </p:nvGrpSpPr>
        <p:grpSpPr>
          <a:xfrm>
            <a:off x="608432" y="6053017"/>
            <a:ext cx="872587" cy="887372"/>
            <a:chOff x="1681558" y="3895979"/>
            <a:chExt cx="919310" cy="919310"/>
          </a:xfrm>
        </p:grpSpPr>
        <p:sp>
          <p:nvSpPr>
            <p:cNvPr id="92" name="Овал 91"/>
            <p:cNvSpPr/>
            <p:nvPr/>
          </p:nvSpPr>
          <p:spPr>
            <a:xfrm>
              <a:off x="1681558" y="3895979"/>
              <a:ext cx="919310" cy="919310"/>
            </a:xfrm>
            <a:prstGeom prst="ellipse">
              <a:avLst/>
            </a:prstGeom>
            <a:noFill/>
            <a:ln w="66675" cmpd="thinThick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/>
            </a:p>
          </p:txBody>
        </p:sp>
        <p:sp>
          <p:nvSpPr>
            <p:cNvPr id="95" name="Арка 94"/>
            <p:cNvSpPr/>
            <p:nvPr/>
          </p:nvSpPr>
          <p:spPr>
            <a:xfrm>
              <a:off x="1810109" y="4007470"/>
              <a:ext cx="651256" cy="592051"/>
            </a:xfrm>
            <a:prstGeom prst="blockArc">
              <a:avLst>
                <a:gd name="adj1" fmla="val 10800000"/>
                <a:gd name="adj2" fmla="val 19045048"/>
                <a:gd name="adj3" fmla="val 0"/>
              </a:avLst>
            </a:prstGeom>
            <a:solidFill>
              <a:schemeClr val="tx1"/>
            </a:solidFill>
            <a:ln w="2222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>
                <a:solidFill>
                  <a:schemeClr val="tx1"/>
                </a:solidFill>
              </a:endParaRPr>
            </a:p>
          </p:txBody>
        </p:sp>
        <p:sp>
          <p:nvSpPr>
            <p:cNvPr id="96" name="Прямоугольник 95"/>
            <p:cNvSpPr/>
            <p:nvPr/>
          </p:nvSpPr>
          <p:spPr>
            <a:xfrm rot="20269865">
              <a:off x="1726479" y="4237738"/>
              <a:ext cx="846840" cy="233316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800" b="1" dirty="0" smtClean="0">
                  <a:latin typeface="+mn-lt"/>
                  <a:cs typeface="+mn-cs"/>
                </a:rPr>
                <a:t>Гарантия</a:t>
              </a:r>
              <a:endParaRPr lang="ru-RU" sz="1800" b="1" dirty="0">
                <a:latin typeface="+mn-lt"/>
                <a:cs typeface="+mn-cs"/>
              </a:endParaRPr>
            </a:p>
          </p:txBody>
        </p:sp>
        <p:sp>
          <p:nvSpPr>
            <p:cNvPr id="97" name="Арка 96"/>
            <p:cNvSpPr/>
            <p:nvPr/>
          </p:nvSpPr>
          <p:spPr>
            <a:xfrm flipH="1" flipV="1">
              <a:off x="1829585" y="4112323"/>
              <a:ext cx="651256" cy="592051"/>
            </a:xfrm>
            <a:prstGeom prst="blockArc">
              <a:avLst>
                <a:gd name="adj1" fmla="val 10800000"/>
                <a:gd name="adj2" fmla="val 19045048"/>
                <a:gd name="adj3" fmla="val 0"/>
              </a:avLst>
            </a:prstGeom>
            <a:solidFill>
              <a:schemeClr val="tx1"/>
            </a:solidFill>
            <a:ln w="2222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>
                <a:solidFill>
                  <a:schemeClr val="tx1"/>
                </a:solidFill>
              </a:endParaRPr>
            </a:p>
          </p:txBody>
        </p:sp>
      </p:grpSp>
      <p:sp>
        <p:nvSpPr>
          <p:cNvPr id="152" name="Овал 151"/>
          <p:cNvSpPr/>
          <p:nvPr/>
        </p:nvSpPr>
        <p:spPr>
          <a:xfrm>
            <a:off x="794586" y="4749001"/>
            <a:ext cx="470822" cy="47082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₽</a:t>
            </a:r>
            <a:endParaRPr lang="ru-RU" b="1" dirty="0">
              <a:solidFill>
                <a:schemeClr val="tx1"/>
              </a:solidFill>
            </a:endParaRPr>
          </a:p>
        </p:txBody>
      </p:sp>
      <p:grpSp>
        <p:nvGrpSpPr>
          <p:cNvPr id="19" name="Группа 18"/>
          <p:cNvGrpSpPr/>
          <p:nvPr/>
        </p:nvGrpSpPr>
        <p:grpSpPr>
          <a:xfrm>
            <a:off x="444590" y="7337890"/>
            <a:ext cx="1624233" cy="910389"/>
            <a:chOff x="402268" y="6524625"/>
            <a:chExt cx="1342341" cy="856553"/>
          </a:xfrm>
        </p:grpSpPr>
        <p:sp>
          <p:nvSpPr>
            <p:cNvPr id="129" name="Freeform 72"/>
            <p:cNvSpPr>
              <a:spLocks noChangeAspect="1" noEditPoints="1"/>
            </p:cNvSpPr>
            <p:nvPr/>
          </p:nvSpPr>
          <p:spPr bwMode="auto">
            <a:xfrm>
              <a:off x="1172328" y="6561951"/>
              <a:ext cx="572281" cy="781900"/>
            </a:xfrm>
            <a:custGeom>
              <a:avLst/>
              <a:gdLst/>
              <a:ahLst/>
              <a:cxnLst>
                <a:cxn ang="0">
                  <a:pos x="69" y="0"/>
                </a:cxn>
                <a:cxn ang="0">
                  <a:pos x="37" y="18"/>
                </a:cxn>
                <a:cxn ang="0">
                  <a:pos x="14" y="0"/>
                </a:cxn>
                <a:cxn ang="0">
                  <a:pos x="0" y="2"/>
                </a:cxn>
                <a:cxn ang="0">
                  <a:pos x="33" y="32"/>
                </a:cxn>
                <a:cxn ang="0">
                  <a:pos x="33" y="118"/>
                </a:cxn>
                <a:cxn ang="0">
                  <a:pos x="41" y="118"/>
                </a:cxn>
                <a:cxn ang="0">
                  <a:pos x="41" y="36"/>
                </a:cxn>
                <a:cxn ang="0">
                  <a:pos x="86" y="3"/>
                </a:cxn>
                <a:cxn ang="0">
                  <a:pos x="69" y="0"/>
                </a:cxn>
                <a:cxn ang="0">
                  <a:pos x="10" y="7"/>
                </a:cxn>
                <a:cxn ang="0">
                  <a:pos x="37" y="24"/>
                </a:cxn>
                <a:cxn ang="0">
                  <a:pos x="71" y="10"/>
                </a:cxn>
                <a:cxn ang="0">
                  <a:pos x="37" y="32"/>
                </a:cxn>
                <a:cxn ang="0">
                  <a:pos x="10" y="7"/>
                </a:cxn>
              </a:cxnLst>
              <a:rect l="0" t="0" r="r" b="b"/>
              <a:pathLst>
                <a:path w="86" h="118">
                  <a:moveTo>
                    <a:pt x="69" y="0"/>
                  </a:moveTo>
                  <a:cubicBezTo>
                    <a:pt x="48" y="0"/>
                    <a:pt x="40" y="7"/>
                    <a:pt x="37" y="18"/>
                  </a:cubicBezTo>
                  <a:cubicBezTo>
                    <a:pt x="37" y="18"/>
                    <a:pt x="31" y="2"/>
                    <a:pt x="14" y="0"/>
                  </a:cubicBezTo>
                  <a:cubicBezTo>
                    <a:pt x="9" y="0"/>
                    <a:pt x="4" y="0"/>
                    <a:pt x="0" y="2"/>
                  </a:cubicBezTo>
                  <a:cubicBezTo>
                    <a:pt x="7" y="39"/>
                    <a:pt x="25" y="35"/>
                    <a:pt x="33" y="32"/>
                  </a:cubicBezTo>
                  <a:cubicBezTo>
                    <a:pt x="33" y="118"/>
                    <a:pt x="33" y="118"/>
                    <a:pt x="33" y="118"/>
                  </a:cubicBezTo>
                  <a:cubicBezTo>
                    <a:pt x="41" y="118"/>
                    <a:pt x="41" y="118"/>
                    <a:pt x="41" y="118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50" y="42"/>
                    <a:pt x="73" y="50"/>
                    <a:pt x="86" y="3"/>
                  </a:cubicBezTo>
                  <a:cubicBezTo>
                    <a:pt x="81" y="1"/>
                    <a:pt x="75" y="0"/>
                    <a:pt x="69" y="0"/>
                  </a:cubicBezTo>
                  <a:close/>
                  <a:moveTo>
                    <a:pt x="10" y="7"/>
                  </a:moveTo>
                  <a:cubicBezTo>
                    <a:pt x="28" y="11"/>
                    <a:pt x="37" y="24"/>
                    <a:pt x="37" y="24"/>
                  </a:cubicBezTo>
                  <a:cubicBezTo>
                    <a:pt x="37" y="24"/>
                    <a:pt x="46" y="9"/>
                    <a:pt x="71" y="10"/>
                  </a:cubicBezTo>
                  <a:cubicBezTo>
                    <a:pt x="71" y="10"/>
                    <a:pt x="43" y="20"/>
                    <a:pt x="37" y="32"/>
                  </a:cubicBezTo>
                  <a:cubicBezTo>
                    <a:pt x="35" y="25"/>
                    <a:pt x="25" y="19"/>
                    <a:pt x="10" y="7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02268" y="6524625"/>
              <a:ext cx="856553" cy="856553"/>
            </a:xfrm>
            <a:prstGeom prst="rect">
              <a:avLst/>
            </a:prstGeom>
          </p:spPr>
        </p:pic>
      </p:grpSp>
      <p:sp>
        <p:nvSpPr>
          <p:cNvPr id="130" name="Freeform 9"/>
          <p:cNvSpPr>
            <a:spLocks noEditPoints="1"/>
          </p:cNvSpPr>
          <p:nvPr/>
        </p:nvSpPr>
        <p:spPr bwMode="auto">
          <a:xfrm>
            <a:off x="6642295" y="4869355"/>
            <a:ext cx="897774" cy="723097"/>
          </a:xfrm>
          <a:custGeom>
            <a:avLst/>
            <a:gdLst>
              <a:gd name="T0" fmla="*/ 308 w 445"/>
              <a:gd name="T1" fmla="*/ 41 h 358"/>
              <a:gd name="T2" fmla="*/ 288 w 445"/>
              <a:gd name="T3" fmla="*/ 12 h 358"/>
              <a:gd name="T4" fmla="*/ 183 w 445"/>
              <a:gd name="T5" fmla="*/ 31 h 358"/>
              <a:gd name="T6" fmla="*/ 89 w 445"/>
              <a:gd name="T7" fmla="*/ 49 h 358"/>
              <a:gd name="T8" fmla="*/ 34 w 445"/>
              <a:gd name="T9" fmla="*/ 158 h 358"/>
              <a:gd name="T10" fmla="*/ 223 w 445"/>
              <a:gd name="T11" fmla="*/ 355 h 358"/>
              <a:gd name="T12" fmla="*/ 239 w 445"/>
              <a:gd name="T13" fmla="*/ 354 h 358"/>
              <a:gd name="T14" fmla="*/ 68 w 445"/>
              <a:gd name="T15" fmla="*/ 193 h 358"/>
              <a:gd name="T16" fmla="*/ 72 w 445"/>
              <a:gd name="T17" fmla="*/ 102 h 358"/>
              <a:gd name="T18" fmla="*/ 175 w 445"/>
              <a:gd name="T19" fmla="*/ 53 h 358"/>
              <a:gd name="T20" fmla="*/ 252 w 445"/>
              <a:gd name="T21" fmla="*/ 35 h 358"/>
              <a:gd name="T22" fmla="*/ 271 w 445"/>
              <a:gd name="T23" fmla="*/ 48 h 358"/>
              <a:gd name="T24" fmla="*/ 227 w 445"/>
              <a:gd name="T25" fmla="*/ 72 h 358"/>
              <a:gd name="T26" fmla="*/ 159 w 445"/>
              <a:gd name="T27" fmla="*/ 95 h 358"/>
              <a:gd name="T28" fmla="*/ 131 w 445"/>
              <a:gd name="T29" fmla="*/ 144 h 358"/>
              <a:gd name="T30" fmla="*/ 234 w 445"/>
              <a:gd name="T31" fmla="*/ 153 h 358"/>
              <a:gd name="T32" fmla="*/ 357 w 445"/>
              <a:gd name="T33" fmla="*/ 256 h 358"/>
              <a:gd name="T34" fmla="*/ 364 w 445"/>
              <a:gd name="T35" fmla="*/ 237 h 358"/>
              <a:gd name="T36" fmla="*/ 220 w 445"/>
              <a:gd name="T37" fmla="*/ 132 h 358"/>
              <a:gd name="T38" fmla="*/ 143 w 445"/>
              <a:gd name="T39" fmla="*/ 121 h 358"/>
              <a:gd name="T40" fmla="*/ 230 w 445"/>
              <a:gd name="T41" fmla="*/ 96 h 358"/>
              <a:gd name="T42" fmla="*/ 305 w 445"/>
              <a:gd name="T43" fmla="*/ 63 h 358"/>
              <a:gd name="T44" fmla="*/ 390 w 445"/>
              <a:gd name="T45" fmla="*/ 111 h 358"/>
              <a:gd name="T46" fmla="*/ 360 w 445"/>
              <a:gd name="T47" fmla="*/ 205 h 358"/>
              <a:gd name="T48" fmla="*/ 378 w 445"/>
              <a:gd name="T49" fmla="*/ 217 h 358"/>
              <a:gd name="T50" fmla="*/ 407 w 445"/>
              <a:gd name="T51" fmla="*/ 97 h 358"/>
              <a:gd name="T52" fmla="*/ 85 w 445"/>
              <a:gd name="T53" fmla="*/ 40 h 358"/>
              <a:gd name="T54" fmla="*/ 73 w 445"/>
              <a:gd name="T55" fmla="*/ 21 h 358"/>
              <a:gd name="T56" fmla="*/ 13 w 445"/>
              <a:gd name="T57" fmla="*/ 160 h 358"/>
              <a:gd name="T58" fmla="*/ 24 w 445"/>
              <a:gd name="T59" fmla="*/ 149 h 358"/>
              <a:gd name="T60" fmla="*/ 443 w 445"/>
              <a:gd name="T61" fmla="*/ 95 h 358"/>
              <a:gd name="T62" fmla="*/ 314 w 445"/>
              <a:gd name="T63" fmla="*/ 16 h 358"/>
              <a:gd name="T64" fmla="*/ 422 w 445"/>
              <a:gd name="T65" fmla="*/ 102 h 358"/>
              <a:gd name="T66" fmla="*/ 436 w 445"/>
              <a:gd name="T67" fmla="*/ 109 h 358"/>
              <a:gd name="T68" fmla="*/ 249 w 445"/>
              <a:gd name="T69" fmla="*/ 188 h 358"/>
              <a:gd name="T70" fmla="*/ 234 w 445"/>
              <a:gd name="T71" fmla="*/ 205 h 358"/>
              <a:gd name="T72" fmla="*/ 336 w 445"/>
              <a:gd name="T73" fmla="*/ 292 h 358"/>
              <a:gd name="T74" fmla="*/ 344 w 445"/>
              <a:gd name="T75" fmla="*/ 272 h 358"/>
              <a:gd name="T76" fmla="*/ 217 w 445"/>
              <a:gd name="T77" fmla="*/ 214 h 358"/>
              <a:gd name="T78" fmla="*/ 202 w 445"/>
              <a:gd name="T79" fmla="*/ 231 h 358"/>
              <a:gd name="T80" fmla="*/ 308 w 445"/>
              <a:gd name="T81" fmla="*/ 318 h 358"/>
              <a:gd name="T82" fmla="*/ 315 w 445"/>
              <a:gd name="T83" fmla="*/ 299 h 358"/>
              <a:gd name="T84" fmla="*/ 180 w 445"/>
              <a:gd name="T85" fmla="*/ 237 h 358"/>
              <a:gd name="T86" fmla="*/ 166 w 445"/>
              <a:gd name="T87" fmla="*/ 254 h 358"/>
              <a:gd name="T88" fmla="*/ 273 w 445"/>
              <a:gd name="T89" fmla="*/ 340 h 358"/>
              <a:gd name="T90" fmla="*/ 280 w 445"/>
              <a:gd name="T91" fmla="*/ 321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45" h="358">
                <a:moveTo>
                  <a:pt x="361" y="57"/>
                </a:moveTo>
                <a:cubicBezTo>
                  <a:pt x="341" y="47"/>
                  <a:pt x="310" y="41"/>
                  <a:pt x="308" y="41"/>
                </a:cubicBezTo>
                <a:cubicBezTo>
                  <a:pt x="304" y="41"/>
                  <a:pt x="300" y="41"/>
                  <a:pt x="296" y="41"/>
                </a:cubicBezTo>
                <a:cubicBezTo>
                  <a:pt x="297" y="31"/>
                  <a:pt x="294" y="20"/>
                  <a:pt x="288" y="12"/>
                </a:cubicBezTo>
                <a:cubicBezTo>
                  <a:pt x="280" y="0"/>
                  <a:pt x="265" y="6"/>
                  <a:pt x="244" y="14"/>
                </a:cubicBezTo>
                <a:cubicBezTo>
                  <a:pt x="226" y="21"/>
                  <a:pt x="204" y="29"/>
                  <a:pt x="183" y="31"/>
                </a:cubicBezTo>
                <a:cubicBezTo>
                  <a:pt x="181" y="31"/>
                  <a:pt x="178" y="31"/>
                  <a:pt x="174" y="31"/>
                </a:cubicBezTo>
                <a:cubicBezTo>
                  <a:pt x="139" y="33"/>
                  <a:pt x="105" y="35"/>
                  <a:pt x="89" y="49"/>
                </a:cubicBezTo>
                <a:cubicBezTo>
                  <a:pt x="88" y="50"/>
                  <a:pt x="65" y="71"/>
                  <a:pt x="53" y="91"/>
                </a:cubicBezTo>
                <a:cubicBezTo>
                  <a:pt x="42" y="110"/>
                  <a:pt x="36" y="138"/>
                  <a:pt x="34" y="158"/>
                </a:cubicBezTo>
                <a:cubicBezTo>
                  <a:pt x="32" y="177"/>
                  <a:pt x="39" y="196"/>
                  <a:pt x="54" y="209"/>
                </a:cubicBezTo>
                <a:cubicBezTo>
                  <a:pt x="223" y="355"/>
                  <a:pt x="223" y="355"/>
                  <a:pt x="223" y="355"/>
                </a:cubicBezTo>
                <a:cubicBezTo>
                  <a:pt x="225" y="357"/>
                  <a:pt x="228" y="358"/>
                  <a:pt x="230" y="358"/>
                </a:cubicBezTo>
                <a:cubicBezTo>
                  <a:pt x="234" y="358"/>
                  <a:pt x="237" y="356"/>
                  <a:pt x="239" y="354"/>
                </a:cubicBezTo>
                <a:cubicBezTo>
                  <a:pt x="243" y="349"/>
                  <a:pt x="242" y="342"/>
                  <a:pt x="238" y="338"/>
                </a:cubicBezTo>
                <a:cubicBezTo>
                  <a:pt x="68" y="193"/>
                  <a:pt x="68" y="193"/>
                  <a:pt x="68" y="193"/>
                </a:cubicBezTo>
                <a:cubicBezTo>
                  <a:pt x="59" y="185"/>
                  <a:pt x="55" y="173"/>
                  <a:pt x="56" y="161"/>
                </a:cubicBezTo>
                <a:cubicBezTo>
                  <a:pt x="59" y="135"/>
                  <a:pt x="65" y="115"/>
                  <a:pt x="72" y="102"/>
                </a:cubicBezTo>
                <a:cubicBezTo>
                  <a:pt x="82" y="85"/>
                  <a:pt x="104" y="66"/>
                  <a:pt x="104" y="66"/>
                </a:cubicBezTo>
                <a:cubicBezTo>
                  <a:pt x="115" y="56"/>
                  <a:pt x="154" y="54"/>
                  <a:pt x="175" y="53"/>
                </a:cubicBezTo>
                <a:cubicBezTo>
                  <a:pt x="179" y="53"/>
                  <a:pt x="182" y="53"/>
                  <a:pt x="184" y="53"/>
                </a:cubicBezTo>
                <a:cubicBezTo>
                  <a:pt x="209" y="51"/>
                  <a:pt x="234" y="42"/>
                  <a:pt x="252" y="35"/>
                </a:cubicBezTo>
                <a:cubicBezTo>
                  <a:pt x="259" y="32"/>
                  <a:pt x="267" y="29"/>
                  <a:pt x="272" y="27"/>
                </a:cubicBezTo>
                <a:cubicBezTo>
                  <a:pt x="275" y="34"/>
                  <a:pt x="274" y="43"/>
                  <a:pt x="271" y="48"/>
                </a:cubicBezTo>
                <a:cubicBezTo>
                  <a:pt x="271" y="48"/>
                  <a:pt x="271" y="49"/>
                  <a:pt x="270" y="49"/>
                </a:cubicBezTo>
                <a:cubicBezTo>
                  <a:pt x="257" y="55"/>
                  <a:pt x="242" y="63"/>
                  <a:pt x="227" y="72"/>
                </a:cubicBezTo>
                <a:cubicBezTo>
                  <a:pt x="219" y="76"/>
                  <a:pt x="219" y="76"/>
                  <a:pt x="219" y="76"/>
                </a:cubicBezTo>
                <a:cubicBezTo>
                  <a:pt x="201" y="87"/>
                  <a:pt x="178" y="91"/>
                  <a:pt x="159" y="95"/>
                </a:cubicBezTo>
                <a:cubicBezTo>
                  <a:pt x="137" y="99"/>
                  <a:pt x="121" y="102"/>
                  <a:pt x="120" y="117"/>
                </a:cubicBezTo>
                <a:cubicBezTo>
                  <a:pt x="120" y="128"/>
                  <a:pt x="124" y="138"/>
                  <a:pt x="131" y="144"/>
                </a:cubicBezTo>
                <a:cubicBezTo>
                  <a:pt x="152" y="163"/>
                  <a:pt x="196" y="158"/>
                  <a:pt x="223" y="154"/>
                </a:cubicBezTo>
                <a:cubicBezTo>
                  <a:pt x="227" y="154"/>
                  <a:pt x="231" y="153"/>
                  <a:pt x="234" y="153"/>
                </a:cubicBezTo>
                <a:cubicBezTo>
                  <a:pt x="251" y="168"/>
                  <a:pt x="325" y="233"/>
                  <a:pt x="350" y="254"/>
                </a:cubicBezTo>
                <a:cubicBezTo>
                  <a:pt x="352" y="256"/>
                  <a:pt x="354" y="256"/>
                  <a:pt x="357" y="256"/>
                </a:cubicBezTo>
                <a:cubicBezTo>
                  <a:pt x="360" y="256"/>
                  <a:pt x="363" y="255"/>
                  <a:pt x="365" y="253"/>
                </a:cubicBezTo>
                <a:cubicBezTo>
                  <a:pt x="369" y="248"/>
                  <a:pt x="369" y="241"/>
                  <a:pt x="364" y="237"/>
                </a:cubicBezTo>
                <a:cubicBezTo>
                  <a:pt x="319" y="198"/>
                  <a:pt x="251" y="139"/>
                  <a:pt x="247" y="135"/>
                </a:cubicBezTo>
                <a:cubicBezTo>
                  <a:pt x="242" y="129"/>
                  <a:pt x="236" y="130"/>
                  <a:pt x="220" y="132"/>
                </a:cubicBezTo>
                <a:cubicBezTo>
                  <a:pt x="200" y="135"/>
                  <a:pt x="159" y="140"/>
                  <a:pt x="146" y="128"/>
                </a:cubicBezTo>
                <a:cubicBezTo>
                  <a:pt x="145" y="127"/>
                  <a:pt x="143" y="125"/>
                  <a:pt x="143" y="121"/>
                </a:cubicBezTo>
                <a:cubicBezTo>
                  <a:pt x="147" y="120"/>
                  <a:pt x="156" y="118"/>
                  <a:pt x="163" y="117"/>
                </a:cubicBezTo>
                <a:cubicBezTo>
                  <a:pt x="182" y="113"/>
                  <a:pt x="208" y="108"/>
                  <a:pt x="230" y="96"/>
                </a:cubicBezTo>
                <a:cubicBezTo>
                  <a:pt x="232" y="94"/>
                  <a:pt x="235" y="93"/>
                  <a:pt x="238" y="91"/>
                </a:cubicBezTo>
                <a:cubicBezTo>
                  <a:pt x="256" y="81"/>
                  <a:pt x="290" y="61"/>
                  <a:pt x="305" y="63"/>
                </a:cubicBezTo>
                <a:cubicBezTo>
                  <a:pt x="305" y="63"/>
                  <a:pt x="334" y="68"/>
                  <a:pt x="352" y="77"/>
                </a:cubicBezTo>
                <a:cubicBezTo>
                  <a:pt x="363" y="83"/>
                  <a:pt x="376" y="95"/>
                  <a:pt x="390" y="111"/>
                </a:cubicBezTo>
                <a:cubicBezTo>
                  <a:pt x="401" y="123"/>
                  <a:pt x="402" y="140"/>
                  <a:pt x="394" y="152"/>
                </a:cubicBezTo>
                <a:cubicBezTo>
                  <a:pt x="360" y="205"/>
                  <a:pt x="360" y="205"/>
                  <a:pt x="360" y="205"/>
                </a:cubicBezTo>
                <a:cubicBezTo>
                  <a:pt x="356" y="210"/>
                  <a:pt x="358" y="217"/>
                  <a:pt x="363" y="220"/>
                </a:cubicBezTo>
                <a:cubicBezTo>
                  <a:pt x="368" y="223"/>
                  <a:pt x="375" y="222"/>
                  <a:pt x="378" y="217"/>
                </a:cubicBezTo>
                <a:cubicBezTo>
                  <a:pt x="412" y="164"/>
                  <a:pt x="412" y="164"/>
                  <a:pt x="412" y="164"/>
                </a:cubicBezTo>
                <a:cubicBezTo>
                  <a:pt x="426" y="143"/>
                  <a:pt x="424" y="116"/>
                  <a:pt x="407" y="97"/>
                </a:cubicBezTo>
                <a:cubicBezTo>
                  <a:pt x="391" y="78"/>
                  <a:pt x="375" y="64"/>
                  <a:pt x="361" y="57"/>
                </a:cubicBezTo>
                <a:close/>
                <a:moveTo>
                  <a:pt x="85" y="40"/>
                </a:moveTo>
                <a:cubicBezTo>
                  <a:pt x="90" y="36"/>
                  <a:pt x="92" y="29"/>
                  <a:pt x="88" y="24"/>
                </a:cubicBezTo>
                <a:cubicBezTo>
                  <a:pt x="85" y="19"/>
                  <a:pt x="78" y="18"/>
                  <a:pt x="73" y="21"/>
                </a:cubicBezTo>
                <a:cubicBezTo>
                  <a:pt x="38" y="44"/>
                  <a:pt x="0" y="105"/>
                  <a:pt x="2" y="150"/>
                </a:cubicBezTo>
                <a:cubicBezTo>
                  <a:pt x="2" y="156"/>
                  <a:pt x="7" y="160"/>
                  <a:pt x="13" y="160"/>
                </a:cubicBezTo>
                <a:cubicBezTo>
                  <a:pt x="13" y="160"/>
                  <a:pt x="13" y="160"/>
                  <a:pt x="13" y="160"/>
                </a:cubicBezTo>
                <a:cubicBezTo>
                  <a:pt x="19" y="160"/>
                  <a:pt x="24" y="155"/>
                  <a:pt x="24" y="149"/>
                </a:cubicBezTo>
                <a:cubicBezTo>
                  <a:pt x="22" y="113"/>
                  <a:pt x="56" y="59"/>
                  <a:pt x="85" y="40"/>
                </a:cubicBezTo>
                <a:close/>
                <a:moveTo>
                  <a:pt x="443" y="95"/>
                </a:moveTo>
                <a:cubicBezTo>
                  <a:pt x="428" y="51"/>
                  <a:pt x="366" y="16"/>
                  <a:pt x="327" y="8"/>
                </a:cubicBezTo>
                <a:cubicBezTo>
                  <a:pt x="321" y="7"/>
                  <a:pt x="316" y="10"/>
                  <a:pt x="314" y="16"/>
                </a:cubicBezTo>
                <a:cubicBezTo>
                  <a:pt x="313" y="22"/>
                  <a:pt x="317" y="28"/>
                  <a:pt x="323" y="30"/>
                </a:cubicBezTo>
                <a:cubicBezTo>
                  <a:pt x="357" y="37"/>
                  <a:pt x="411" y="68"/>
                  <a:pt x="422" y="102"/>
                </a:cubicBezTo>
                <a:cubicBezTo>
                  <a:pt x="424" y="106"/>
                  <a:pt x="428" y="109"/>
                  <a:pt x="433" y="109"/>
                </a:cubicBezTo>
                <a:cubicBezTo>
                  <a:pt x="434" y="109"/>
                  <a:pt x="435" y="109"/>
                  <a:pt x="436" y="109"/>
                </a:cubicBezTo>
                <a:cubicBezTo>
                  <a:pt x="442" y="107"/>
                  <a:pt x="445" y="100"/>
                  <a:pt x="443" y="95"/>
                </a:cubicBezTo>
                <a:close/>
                <a:moveTo>
                  <a:pt x="249" y="188"/>
                </a:moveTo>
                <a:cubicBezTo>
                  <a:pt x="244" y="184"/>
                  <a:pt x="237" y="184"/>
                  <a:pt x="233" y="189"/>
                </a:cubicBezTo>
                <a:cubicBezTo>
                  <a:pt x="229" y="194"/>
                  <a:pt x="229" y="201"/>
                  <a:pt x="234" y="205"/>
                </a:cubicBezTo>
                <a:cubicBezTo>
                  <a:pt x="329" y="289"/>
                  <a:pt x="329" y="289"/>
                  <a:pt x="329" y="289"/>
                </a:cubicBezTo>
                <a:cubicBezTo>
                  <a:pt x="331" y="291"/>
                  <a:pt x="334" y="292"/>
                  <a:pt x="336" y="292"/>
                </a:cubicBezTo>
                <a:cubicBezTo>
                  <a:pt x="339" y="292"/>
                  <a:pt x="343" y="290"/>
                  <a:pt x="345" y="288"/>
                </a:cubicBezTo>
                <a:cubicBezTo>
                  <a:pt x="349" y="283"/>
                  <a:pt x="348" y="276"/>
                  <a:pt x="344" y="272"/>
                </a:cubicBezTo>
                <a:lnTo>
                  <a:pt x="249" y="188"/>
                </a:lnTo>
                <a:close/>
                <a:moveTo>
                  <a:pt x="217" y="214"/>
                </a:moveTo>
                <a:cubicBezTo>
                  <a:pt x="212" y="210"/>
                  <a:pt x="205" y="210"/>
                  <a:pt x="201" y="215"/>
                </a:cubicBezTo>
                <a:cubicBezTo>
                  <a:pt x="197" y="220"/>
                  <a:pt x="198" y="227"/>
                  <a:pt x="202" y="231"/>
                </a:cubicBezTo>
                <a:cubicBezTo>
                  <a:pt x="301" y="315"/>
                  <a:pt x="301" y="315"/>
                  <a:pt x="301" y="315"/>
                </a:cubicBezTo>
                <a:cubicBezTo>
                  <a:pt x="303" y="317"/>
                  <a:pt x="306" y="318"/>
                  <a:pt x="308" y="318"/>
                </a:cubicBezTo>
                <a:cubicBezTo>
                  <a:pt x="311" y="318"/>
                  <a:pt x="314" y="317"/>
                  <a:pt x="316" y="314"/>
                </a:cubicBezTo>
                <a:cubicBezTo>
                  <a:pt x="320" y="310"/>
                  <a:pt x="320" y="303"/>
                  <a:pt x="315" y="299"/>
                </a:cubicBezTo>
                <a:lnTo>
                  <a:pt x="217" y="214"/>
                </a:lnTo>
                <a:close/>
                <a:moveTo>
                  <a:pt x="180" y="237"/>
                </a:moveTo>
                <a:cubicBezTo>
                  <a:pt x="175" y="233"/>
                  <a:pt x="168" y="233"/>
                  <a:pt x="165" y="238"/>
                </a:cubicBezTo>
                <a:cubicBezTo>
                  <a:pt x="161" y="243"/>
                  <a:pt x="161" y="250"/>
                  <a:pt x="166" y="254"/>
                </a:cubicBezTo>
                <a:cubicBezTo>
                  <a:pt x="266" y="338"/>
                  <a:pt x="266" y="338"/>
                  <a:pt x="266" y="338"/>
                </a:cubicBezTo>
                <a:cubicBezTo>
                  <a:pt x="268" y="339"/>
                  <a:pt x="270" y="340"/>
                  <a:pt x="273" y="340"/>
                </a:cubicBezTo>
                <a:cubicBezTo>
                  <a:pt x="276" y="340"/>
                  <a:pt x="279" y="339"/>
                  <a:pt x="281" y="336"/>
                </a:cubicBezTo>
                <a:cubicBezTo>
                  <a:pt x="285" y="332"/>
                  <a:pt x="285" y="325"/>
                  <a:pt x="280" y="321"/>
                </a:cubicBezTo>
                <a:lnTo>
                  <a:pt x="180" y="2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53" name="Овал 152"/>
          <p:cNvSpPr/>
          <p:nvPr/>
        </p:nvSpPr>
        <p:spPr>
          <a:xfrm>
            <a:off x="1319939" y="5112818"/>
            <a:ext cx="470822" cy="47082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€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54" name="Овал 153"/>
          <p:cNvSpPr/>
          <p:nvPr/>
        </p:nvSpPr>
        <p:spPr>
          <a:xfrm>
            <a:off x="1373806" y="4521182"/>
            <a:ext cx="470822" cy="47082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£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55" name="Стрелка вниз 154"/>
          <p:cNvSpPr/>
          <p:nvPr/>
        </p:nvSpPr>
        <p:spPr>
          <a:xfrm rot="16200000">
            <a:off x="656132" y="5315458"/>
            <a:ext cx="416524" cy="725429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3" name="Группа 42"/>
          <p:cNvGrpSpPr/>
          <p:nvPr/>
        </p:nvGrpSpPr>
        <p:grpSpPr>
          <a:xfrm>
            <a:off x="387378" y="999224"/>
            <a:ext cx="10951181" cy="721847"/>
            <a:chOff x="573577" y="5811035"/>
            <a:chExt cx="12016584" cy="1290122"/>
          </a:xfrm>
        </p:grpSpPr>
        <p:sp>
          <p:nvSpPr>
            <p:cNvPr id="44" name="Прямоугольник 43"/>
            <p:cNvSpPr/>
            <p:nvPr/>
          </p:nvSpPr>
          <p:spPr>
            <a:xfrm>
              <a:off x="2908299" y="5811037"/>
              <a:ext cx="9681862" cy="112364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600" dirty="0" smtClean="0">
                  <a:latin typeface="+mj-lt"/>
                  <a:cs typeface="+mn-cs"/>
                </a:rPr>
                <a:t>Корпорация </a:t>
              </a:r>
              <a:r>
                <a:rPr lang="ru-RU" sz="1600" dirty="0">
                  <a:latin typeface="+mj-lt"/>
                  <a:cs typeface="+mn-cs"/>
                </a:rPr>
                <a:t>– институт развития в сфере малого и среднего </a:t>
              </a:r>
              <a:r>
                <a:rPr lang="ru-RU" sz="1600" dirty="0" smtClean="0">
                  <a:latin typeface="+mj-lt"/>
                  <a:cs typeface="+mn-cs"/>
                </a:rPr>
                <a:t>предпринимательства</a:t>
              </a:r>
              <a:endParaRPr lang="ru-RU" sz="1600" dirty="0">
                <a:latin typeface="+mj-lt"/>
                <a:cs typeface="+mn-cs"/>
              </a:endParaRPr>
            </a:p>
          </p:txBody>
        </p:sp>
        <p:sp>
          <p:nvSpPr>
            <p:cNvPr id="45" name="Скругленный прямоугольник 44"/>
            <p:cNvSpPr/>
            <p:nvPr/>
          </p:nvSpPr>
          <p:spPr>
            <a:xfrm>
              <a:off x="705966" y="5811035"/>
              <a:ext cx="1052980" cy="1290122"/>
            </a:xfrm>
            <a:prstGeom prst="roundRect">
              <a:avLst>
                <a:gd name="adj" fmla="val 4144"/>
              </a:avLst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1439863" defTabSz="914373" fontAlgn="auto">
                <a:spcBef>
                  <a:spcPts val="0"/>
                </a:spcBef>
                <a:spcAft>
                  <a:spcPts val="0"/>
                </a:spcAft>
              </a:pPr>
              <a:endParaRPr lang="ru-RU" sz="2800" b="1" ker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573577" y="6640027"/>
              <a:ext cx="1329790" cy="36386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+mj-lt"/>
                  <a:cs typeface="+mn-cs"/>
                </a:rPr>
                <a:t>Миссия</a:t>
              </a:r>
              <a:endParaRPr lang="ru-RU" sz="1800" b="1" kern="0" dirty="0">
                <a:solidFill>
                  <a:schemeClr val="bg1"/>
                </a:solidFill>
                <a:latin typeface="+mj-lt"/>
                <a:cs typeface="+mn-cs"/>
              </a:endParaRPr>
            </a:p>
          </p:txBody>
        </p:sp>
        <p:pic>
          <p:nvPicPr>
            <p:cNvPr id="47" name="Picture 10" descr="C:\Users\jsauvageau\Desktop\4.png"/>
            <p:cNvPicPr>
              <a:picLocks noChangeAspect="1" noChangeArrowheads="1"/>
            </p:cNvPicPr>
            <p:nvPr/>
          </p:nvPicPr>
          <p:blipFill>
            <a:blip r:embed="rId5" cstate="print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9835" y="5908079"/>
              <a:ext cx="762754" cy="7627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8" name="L-Shape 10"/>
            <p:cNvSpPr/>
            <p:nvPr/>
          </p:nvSpPr>
          <p:spPr>
            <a:xfrm rot="13701821">
              <a:off x="2463710" y="6212656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+mj-lt"/>
              </a:endParaRPr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363538" y="1861607"/>
            <a:ext cx="11638722" cy="1869158"/>
            <a:chOff x="698997" y="2325435"/>
            <a:chExt cx="11891163" cy="4010207"/>
          </a:xfrm>
        </p:grpSpPr>
        <p:sp>
          <p:nvSpPr>
            <p:cNvPr id="51" name="Скругленный прямоугольник 50"/>
            <p:cNvSpPr/>
            <p:nvPr/>
          </p:nvSpPr>
          <p:spPr>
            <a:xfrm>
              <a:off x="705965" y="2325435"/>
              <a:ext cx="1695269" cy="3983315"/>
            </a:xfrm>
            <a:prstGeom prst="roundRect">
              <a:avLst>
                <a:gd name="adj" fmla="val 4144"/>
              </a:avLst>
            </a:prstGeom>
            <a:solidFill>
              <a:srgbClr val="1F4E7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1439863" defTabSz="914373" fontAlgn="auto">
                <a:spcBef>
                  <a:spcPts val="0"/>
                </a:spcBef>
                <a:spcAft>
                  <a:spcPts val="0"/>
                </a:spcAft>
              </a:pPr>
              <a:endParaRPr lang="ru-RU" sz="2800" b="1" ker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2908299" y="2325436"/>
              <a:ext cx="9681861" cy="304497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endParaRPr lang="ru-RU" sz="1600" dirty="0" smtClean="0">
                <a:latin typeface="+mj-lt"/>
                <a:cs typeface="+mn-cs"/>
              </a:endParaRP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 smtClean="0">
                  <a:latin typeface="+mj-lt"/>
                  <a:cs typeface="+mn-cs"/>
                </a:rPr>
                <a:t>Осуществляет </a:t>
              </a:r>
              <a:r>
                <a:rPr lang="ru-RU" sz="1600" dirty="0">
                  <a:latin typeface="+mj-lt"/>
                  <a:cs typeface="+mn-cs"/>
                </a:rPr>
                <a:t>деятельность в соответствии с Федеральным законом от 24.07.07 № 209-ФЗ «О развитии малого и среднего предпринимательства в Российской Федерации</a:t>
              </a:r>
              <a:r>
                <a:rPr lang="ru-RU" sz="1600" dirty="0" smtClean="0">
                  <a:latin typeface="+mj-lt"/>
                  <a:cs typeface="+mn-cs"/>
                </a:rPr>
                <a:t>» </a:t>
              </a: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 smtClean="0">
                  <a:latin typeface="+mj-lt"/>
                  <a:cs typeface="+mn-cs"/>
                </a:rPr>
                <a:t>100</a:t>
              </a:r>
              <a:r>
                <a:rPr lang="ru-RU" sz="1600" dirty="0">
                  <a:latin typeface="+mj-lt"/>
                  <a:cs typeface="+mn-cs"/>
                </a:rPr>
                <a:t>% акций принадлежит Российской Федерации в лице Федерального агентства по управлению государственным имуществом</a:t>
              </a: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Уставный капитал - 50 млрд. </a:t>
              </a:r>
              <a:r>
                <a:rPr lang="ru-RU" sz="1600" dirty="0" smtClean="0">
                  <a:latin typeface="+mj-lt"/>
                  <a:cs typeface="+mn-cs"/>
                </a:rPr>
                <a:t>рублей</a:t>
              </a:r>
              <a:endParaRPr lang="ru-RU" sz="1600" dirty="0">
                <a:latin typeface="+mj-lt"/>
                <a:cs typeface="+mn-cs"/>
              </a:endParaRPr>
            </a:p>
          </p:txBody>
        </p:sp>
        <p:sp>
          <p:nvSpPr>
            <p:cNvPr id="53" name="L-Shape 10"/>
            <p:cNvSpPr/>
            <p:nvPr/>
          </p:nvSpPr>
          <p:spPr>
            <a:xfrm rot="13701821">
              <a:off x="2463709" y="26543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54" name="Прямоугольник 53"/>
            <p:cNvSpPr/>
            <p:nvPr/>
          </p:nvSpPr>
          <p:spPr>
            <a:xfrm>
              <a:off x="698997" y="4209549"/>
              <a:ext cx="1709204" cy="61308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+mj-lt"/>
                  <a:cs typeface="+mn-cs"/>
                </a:rPr>
                <a:t>Ключевые факты</a:t>
              </a:r>
              <a:endParaRPr lang="ru-RU" sz="1800" b="1" kern="0" dirty="0">
                <a:solidFill>
                  <a:schemeClr val="bg1"/>
                </a:solidFill>
                <a:latin typeface="+mj-lt"/>
                <a:cs typeface="+mn-cs"/>
              </a:endParaRPr>
            </a:p>
          </p:txBody>
        </p:sp>
        <p:sp>
          <p:nvSpPr>
            <p:cNvPr id="66" name="L-Shape 10"/>
            <p:cNvSpPr/>
            <p:nvPr/>
          </p:nvSpPr>
          <p:spPr>
            <a:xfrm rot="13701821">
              <a:off x="2475588" y="4521785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67" name="L-Shape 10"/>
            <p:cNvSpPr/>
            <p:nvPr/>
          </p:nvSpPr>
          <p:spPr>
            <a:xfrm rot="13701821">
              <a:off x="2519966" y="606603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91794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35298" y="152402"/>
            <a:ext cx="8619405" cy="698685"/>
          </a:xfrm>
        </p:spPr>
        <p:txBody>
          <a:bodyPr/>
          <a:lstStyle/>
          <a:p>
            <a:r>
              <a:rPr lang="ru-RU" dirty="0"/>
              <a:t>Базовые </a:t>
            </a:r>
            <a:r>
              <a:rPr lang="ru-RU" dirty="0" smtClean="0"/>
              <a:t>общие требования </a:t>
            </a:r>
            <a:r>
              <a:rPr lang="ru-RU" dirty="0"/>
              <a:t>к потенциальному </a:t>
            </a:r>
            <a:r>
              <a:rPr lang="ru-RU" dirty="0" smtClean="0"/>
              <a:t>заемщику</a:t>
            </a:r>
            <a:endParaRPr lang="ru-RU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8264796" y="1398866"/>
            <a:ext cx="3767590" cy="549684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" indent="-228600" defTabSz="914373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оответствие </a:t>
            </a:r>
            <a:r>
              <a:rPr lang="ru-RU" sz="12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требованиям по структуре уставного (складочного) капитала (паевого фонда)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8264797" y="1989361"/>
            <a:ext cx="1887145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" indent="-228600" defTabSz="914373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 startAt="2"/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ыручка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9336207" y="1986942"/>
            <a:ext cx="1505544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Не более 2 млрд. руб.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8264796" y="2431944"/>
            <a:ext cx="1887145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" indent="-228600" defTabSz="914373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 startAt="3"/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Персонал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9336206" y="2428004"/>
            <a:ext cx="1505546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Не более 250 чел.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8071946" y="1284320"/>
            <a:ext cx="3960440" cy="1693368"/>
          </a:xfrm>
          <a:prstGeom prst="rect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  <p:txBody>
          <a:bodyPr rtlCol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endParaRPr lang="ru-RU" sz="1800" kern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8264797" y="4126203"/>
            <a:ext cx="3525293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Производство и реализация подакцизных товаров (</a:t>
            </a:r>
            <a:r>
              <a:rPr lang="ru-RU" sz="1200" i="1" dirty="0">
                <a:latin typeface="Arial Narrow" panose="020B0606020202030204" pitchFamily="34" charset="0"/>
                <a:cs typeface="+mn-cs"/>
              </a:rPr>
              <a:t>ст. № 181 НК РФ</a:t>
            </a:r>
            <a:r>
              <a:rPr lang="ru-RU" sz="1200" dirty="0">
                <a:latin typeface="Arial Narrow" panose="020B0606020202030204" pitchFamily="34" charset="0"/>
                <a:cs typeface="+mn-cs"/>
              </a:rPr>
              <a:t>)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 Narrow" panose="020B0606020202030204" pitchFamily="34" charset="0"/>
                <a:cs typeface="+mn-cs"/>
              </a:rPr>
              <a:t>Игорный </a:t>
            </a:r>
            <a:r>
              <a:rPr lang="ru-RU" sz="1200" dirty="0">
                <a:latin typeface="Arial Narrow" panose="020B0606020202030204" pitchFamily="34" charset="0"/>
                <a:cs typeface="+mn-cs"/>
              </a:rPr>
              <a:t>бизнес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 Narrow" panose="020B0606020202030204" pitchFamily="34" charset="0"/>
                <a:cs typeface="+mn-cs"/>
              </a:rPr>
              <a:t>Добыча </a:t>
            </a:r>
            <a:r>
              <a:rPr lang="ru-RU" sz="1200" dirty="0">
                <a:latin typeface="Arial Narrow" panose="020B0606020202030204" pitchFamily="34" charset="0"/>
                <a:cs typeface="+mn-cs"/>
              </a:rPr>
              <a:t>и реализация полезных ископаемых </a:t>
            </a:r>
            <a:r>
              <a:rPr lang="ru-RU" sz="1200" i="1" dirty="0">
                <a:latin typeface="Arial Narrow" panose="020B0606020202030204" pitchFamily="34" charset="0"/>
                <a:cs typeface="+mn-cs"/>
              </a:rPr>
              <a:t>(ст. № 337 НК РФ); </a:t>
            </a:r>
            <a:endParaRPr lang="ru-RU" sz="1200" dirty="0">
              <a:latin typeface="Arial Narrow" panose="020B0606020202030204" pitchFamily="34" charset="0"/>
              <a:cs typeface="+mn-cs"/>
            </a:endParaRP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Участники соглашений о разделе продукции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Кредитные организации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Страховые организации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Инвестиционные фонды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Негосударственные пенсионные фонды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Профессиональные участники рынка ценных бумаг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Ломбарды.</a:t>
            </a:r>
          </a:p>
        </p:txBody>
      </p:sp>
      <p:grpSp>
        <p:nvGrpSpPr>
          <p:cNvPr id="35" name="Группа 34"/>
          <p:cNvGrpSpPr/>
          <p:nvPr/>
        </p:nvGrpSpPr>
        <p:grpSpPr>
          <a:xfrm>
            <a:off x="11531562" y="2516023"/>
            <a:ext cx="431915" cy="461665"/>
            <a:chOff x="200025" y="5799115"/>
            <a:chExt cx="475107" cy="507831"/>
          </a:xfrm>
        </p:grpSpPr>
        <p:sp>
          <p:nvSpPr>
            <p:cNvPr id="36" name="Равнобедренный треугольник 35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rgbClr val="00A1D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>
                <a:solidFill>
                  <a:srgbClr val="00A1DE"/>
                </a:solidFill>
              </a:endParaRP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270234" y="5799115"/>
              <a:ext cx="296589" cy="507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 smtClean="0">
                  <a:solidFill>
                    <a:srgbClr val="00A1DE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00A1DE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295391" y="1498861"/>
            <a:ext cx="7168007" cy="1308069"/>
            <a:chOff x="391816" y="1966134"/>
            <a:chExt cx="7168007" cy="1308069"/>
          </a:xfrm>
        </p:grpSpPr>
        <p:sp>
          <p:nvSpPr>
            <p:cNvPr id="4" name="Скругленный прямоугольник 3"/>
            <p:cNvSpPr/>
            <p:nvPr/>
          </p:nvSpPr>
          <p:spPr>
            <a:xfrm>
              <a:off x="752122" y="1966134"/>
              <a:ext cx="6807701" cy="1308069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lvl="0" fontAlgn="auto">
                <a:spcBef>
                  <a:spcPts val="300"/>
                </a:spcBef>
                <a:spcAft>
                  <a:spcPts val="0"/>
                </a:spcAft>
                <a:defRPr/>
              </a:pPr>
              <a:r>
                <a:rPr lang="ru-RU" sz="1600" kern="0" dirty="0" smtClean="0">
                  <a:latin typeface="+mj-lt"/>
                  <a:cs typeface="+mn-cs"/>
                </a:rPr>
                <a:t>Соответствие </a:t>
              </a:r>
              <a:r>
                <a:rPr lang="ru-RU" sz="1600" dirty="0">
                  <a:solidFill>
                    <a:schemeClr val="dk1"/>
                  </a:solidFill>
                </a:rPr>
                <a:t>требованиям Федерального закона от 24 июля 2007 года № 209-ФЗ «О развитии малого и среднего предпринимательства в Российской Федерации», с учетом </a:t>
              </a:r>
              <a:r>
                <a:rPr lang="ru-RU" sz="1600" dirty="0" smtClean="0">
                  <a:solidFill>
                    <a:schemeClr val="dk1"/>
                  </a:solidFill>
                </a:rPr>
                <a:t>ограничений статьи 4 закона</a:t>
              </a:r>
              <a:endParaRPr lang="ru-RU" sz="1600" dirty="0">
                <a:solidFill>
                  <a:schemeClr val="dk1"/>
                </a:solidFill>
              </a:endParaRPr>
            </a:p>
          </p:txBody>
        </p:sp>
        <p:sp>
          <p:nvSpPr>
            <p:cNvPr id="39" name="Teardrop 46"/>
            <p:cNvSpPr/>
            <p:nvPr/>
          </p:nvSpPr>
          <p:spPr>
            <a:xfrm>
              <a:off x="391816" y="1973480"/>
              <a:ext cx="463092" cy="480735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1</a:t>
              </a:r>
              <a:endParaRPr lang="en-US" sz="2800" b="1" dirty="0"/>
            </a:p>
          </p:txBody>
        </p:sp>
      </p:grpSp>
      <p:grpSp>
        <p:nvGrpSpPr>
          <p:cNvPr id="51" name="Группа 50"/>
          <p:cNvGrpSpPr/>
          <p:nvPr/>
        </p:nvGrpSpPr>
        <p:grpSpPr>
          <a:xfrm>
            <a:off x="355081" y="3568260"/>
            <a:ext cx="7143404" cy="617868"/>
            <a:chOff x="355081" y="3892019"/>
            <a:chExt cx="7143404" cy="617868"/>
          </a:xfrm>
        </p:grpSpPr>
        <p:sp>
          <p:nvSpPr>
            <p:cNvPr id="6" name="Скругленный прямоугольник 5"/>
            <p:cNvSpPr/>
            <p:nvPr/>
          </p:nvSpPr>
          <p:spPr>
            <a:xfrm>
              <a:off x="754297" y="3899979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Регистрация бизнеса на территории Российской Федерации</a:t>
              </a:r>
            </a:p>
          </p:txBody>
        </p:sp>
        <p:sp>
          <p:nvSpPr>
            <p:cNvPr id="43" name="Teardrop 46"/>
            <p:cNvSpPr/>
            <p:nvPr/>
          </p:nvSpPr>
          <p:spPr>
            <a:xfrm>
              <a:off x="355081" y="3892019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/>
                <a:t>2</a:t>
              </a:r>
            </a:p>
          </p:txBody>
        </p:sp>
      </p:grpSp>
      <p:grpSp>
        <p:nvGrpSpPr>
          <p:cNvPr id="52" name="Группа 51"/>
          <p:cNvGrpSpPr/>
          <p:nvPr/>
        </p:nvGrpSpPr>
        <p:grpSpPr>
          <a:xfrm>
            <a:off x="355081" y="4718190"/>
            <a:ext cx="7143403" cy="612786"/>
            <a:chOff x="355081" y="4932590"/>
            <a:chExt cx="7143403" cy="612786"/>
          </a:xfrm>
        </p:grpSpPr>
        <p:sp>
          <p:nvSpPr>
            <p:cNvPr id="7" name="Скругленный прямоугольник 6"/>
            <p:cNvSpPr/>
            <p:nvPr/>
          </p:nvSpPr>
          <p:spPr>
            <a:xfrm>
              <a:off x="754296" y="4935468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Отсутствие отрицательной кредитной истории по кредитам с гарантией Корпорации</a:t>
              </a:r>
            </a:p>
          </p:txBody>
        </p:sp>
        <p:sp>
          <p:nvSpPr>
            <p:cNvPr id="44" name="Teardrop 46"/>
            <p:cNvSpPr/>
            <p:nvPr/>
          </p:nvSpPr>
          <p:spPr>
            <a:xfrm>
              <a:off x="355081" y="4932590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/>
                <a:t>3</a:t>
              </a:r>
            </a:p>
          </p:txBody>
        </p:sp>
      </p:grpSp>
      <p:grpSp>
        <p:nvGrpSpPr>
          <p:cNvPr id="53" name="Группа 52"/>
          <p:cNvGrpSpPr/>
          <p:nvPr/>
        </p:nvGrpSpPr>
        <p:grpSpPr>
          <a:xfrm>
            <a:off x="355081" y="5863038"/>
            <a:ext cx="7143403" cy="611347"/>
            <a:chOff x="355081" y="5969518"/>
            <a:chExt cx="7143403" cy="611347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754296" y="5970957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Отсутствие просроченной задолженности по налогам, сборам и т.п.</a:t>
              </a:r>
            </a:p>
          </p:txBody>
        </p:sp>
        <p:sp>
          <p:nvSpPr>
            <p:cNvPr id="45" name="Teardrop 46"/>
            <p:cNvSpPr/>
            <p:nvPr/>
          </p:nvSpPr>
          <p:spPr>
            <a:xfrm>
              <a:off x="355081" y="5969518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/>
                <a:t>4</a:t>
              </a:r>
            </a:p>
          </p:txBody>
        </p:sp>
      </p:grpSp>
      <p:grpSp>
        <p:nvGrpSpPr>
          <p:cNvPr id="54" name="Группа 53"/>
          <p:cNvGrpSpPr/>
          <p:nvPr/>
        </p:nvGrpSpPr>
        <p:grpSpPr>
          <a:xfrm>
            <a:off x="355081" y="7006446"/>
            <a:ext cx="7143403" cy="609909"/>
            <a:chOff x="355081" y="7006446"/>
            <a:chExt cx="7143403" cy="609909"/>
          </a:xfrm>
        </p:grpSpPr>
        <p:sp>
          <p:nvSpPr>
            <p:cNvPr id="9" name="Скругленный прямоугольник 8"/>
            <p:cNvSpPr/>
            <p:nvPr/>
          </p:nvSpPr>
          <p:spPr>
            <a:xfrm>
              <a:off x="754296" y="7006447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Не применяются процедуры несостоятельности (банкротства)</a:t>
              </a:r>
            </a:p>
          </p:txBody>
        </p:sp>
        <p:sp>
          <p:nvSpPr>
            <p:cNvPr id="46" name="Teardrop 46"/>
            <p:cNvSpPr/>
            <p:nvPr/>
          </p:nvSpPr>
          <p:spPr>
            <a:xfrm>
              <a:off x="355081" y="7006446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/>
                <a:t>5</a:t>
              </a:r>
            </a:p>
          </p:txBody>
        </p:sp>
      </p:grpSp>
      <p:cxnSp>
        <p:nvCxnSpPr>
          <p:cNvPr id="57" name="Прямая соединительная линия 56"/>
          <p:cNvCxnSpPr/>
          <p:nvPr/>
        </p:nvCxnSpPr>
        <p:spPr>
          <a:xfrm>
            <a:off x="9350543" y="2005245"/>
            <a:ext cx="0" cy="366064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9350543" y="2458943"/>
            <a:ext cx="0" cy="366064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Соединительная линия уступом 61"/>
          <p:cNvCxnSpPr/>
          <p:nvPr/>
        </p:nvCxnSpPr>
        <p:spPr>
          <a:xfrm>
            <a:off x="7477734" y="1732949"/>
            <a:ext cx="594212" cy="510627"/>
          </a:xfrm>
          <a:prstGeom prst="bentConnector3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</p:cxnSp>
      <p:sp>
        <p:nvSpPr>
          <p:cNvPr id="64" name="Прямоугольник 63"/>
          <p:cNvSpPr/>
          <p:nvPr/>
        </p:nvSpPr>
        <p:spPr>
          <a:xfrm>
            <a:off x="8071946" y="3436883"/>
            <a:ext cx="3960440" cy="4179472"/>
          </a:xfrm>
          <a:prstGeom prst="rect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  <p:txBody>
          <a:bodyPr rtlCol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endParaRPr lang="ru-RU" sz="1800" kern="0">
              <a:solidFill>
                <a:prstClr val="white"/>
              </a:solidFill>
              <a:latin typeface="Calibri"/>
              <a:cs typeface="+mn-cs"/>
            </a:endParaRPr>
          </a:p>
        </p:txBody>
      </p:sp>
      <p:cxnSp>
        <p:nvCxnSpPr>
          <p:cNvPr id="65" name="Соединительная линия уступом 64"/>
          <p:cNvCxnSpPr/>
          <p:nvPr/>
        </p:nvCxnSpPr>
        <p:spPr>
          <a:xfrm>
            <a:off x="7521156" y="2513481"/>
            <a:ext cx="573461" cy="2795375"/>
          </a:xfrm>
          <a:prstGeom prst="bentConnector3">
            <a:avLst>
              <a:gd name="adj1" fmla="val 46014"/>
            </a:avLst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</p:cxnSp>
      <p:grpSp>
        <p:nvGrpSpPr>
          <p:cNvPr id="68" name="Группа 67"/>
          <p:cNvGrpSpPr/>
          <p:nvPr/>
        </p:nvGrpSpPr>
        <p:grpSpPr>
          <a:xfrm>
            <a:off x="11531562" y="7153090"/>
            <a:ext cx="431915" cy="461665"/>
            <a:chOff x="200025" y="5799115"/>
            <a:chExt cx="475107" cy="507831"/>
          </a:xfrm>
        </p:grpSpPr>
        <p:sp>
          <p:nvSpPr>
            <p:cNvPr id="69" name="Равнобедренный треугольник 68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rgbClr val="00A1D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>
                <a:solidFill>
                  <a:srgbClr val="00A1DE"/>
                </a:solidFill>
              </a:endParaRPr>
            </a:p>
          </p:txBody>
        </p:sp>
        <p:sp>
          <p:nvSpPr>
            <p:cNvPr id="70" name="Прямоугольник 69"/>
            <p:cNvSpPr/>
            <p:nvPr/>
          </p:nvSpPr>
          <p:spPr>
            <a:xfrm>
              <a:off x="270234" y="5799115"/>
              <a:ext cx="296589" cy="507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 smtClean="0">
                  <a:solidFill>
                    <a:srgbClr val="00A1DE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00A1DE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sp>
        <p:nvSpPr>
          <p:cNvPr id="71" name="Прямоугольник 70"/>
          <p:cNvSpPr/>
          <p:nvPr/>
        </p:nvSpPr>
        <p:spPr>
          <a:xfrm>
            <a:off x="8264797" y="3563024"/>
            <a:ext cx="3525293" cy="549684"/>
          </a:xfrm>
          <a:prstGeom prst="rect">
            <a:avLst/>
          </a:prstGeom>
          <a:solidFill>
            <a:srgbClr val="FCD7B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 smtClean="0">
                <a:latin typeface="Arial Narrow" panose="020B0606020202030204" pitchFamily="34" charset="0"/>
                <a:cs typeface="+mn-cs"/>
              </a:rPr>
              <a:t>Поддержка НЕ оказывается</a:t>
            </a:r>
            <a:endParaRPr lang="ru-RU" sz="1800" kern="0" dirty="0"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4796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1. Механизм гарантийной поддержки корпорации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b="0" dirty="0"/>
              <a:t>Предоставление независимых гарантий корпорации для обеспечения кредитов субъектов </a:t>
            </a:r>
            <a:r>
              <a:rPr lang="ru-RU" b="0" dirty="0" err="1"/>
              <a:t>мсп</a:t>
            </a:r>
            <a:r>
              <a:rPr lang="ru-RU" b="0" dirty="0"/>
              <a:t> в банках-партнерах</a:t>
            </a:r>
          </a:p>
        </p:txBody>
      </p:sp>
    </p:spTree>
    <p:extLst>
      <p:ext uri="{BB962C8B-B14F-4D97-AF65-F5344CB8AC3E}">
        <p14:creationId xmlns:p14="http://schemas.microsoft.com/office/powerpoint/2010/main" val="2556043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57600" y="152402"/>
            <a:ext cx="8597103" cy="698685"/>
          </a:xfrm>
        </p:spPr>
        <p:txBody>
          <a:bodyPr/>
          <a:lstStyle/>
          <a:p>
            <a:r>
              <a:rPr lang="ru-RU" dirty="0"/>
              <a:t>Корпорация в цифрах гарантийной поддержки (на </a:t>
            </a:r>
            <a:r>
              <a:rPr lang="ru-RU" dirty="0" smtClean="0"/>
              <a:t>12.05.16)</a:t>
            </a:r>
            <a:endParaRPr lang="ru-RU" dirty="0"/>
          </a:p>
        </p:txBody>
      </p:sp>
      <p:sp>
        <p:nvSpPr>
          <p:cNvPr id="31" name="TextBox 30"/>
          <p:cNvSpPr txBox="1"/>
          <p:nvPr/>
        </p:nvSpPr>
        <p:spPr>
          <a:xfrm>
            <a:off x="9747517" y="2113543"/>
            <a:ext cx="2313500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 smtClean="0"/>
              <a:t>26,7 </a:t>
            </a:r>
          </a:p>
          <a:p>
            <a:r>
              <a:rPr lang="ru-RU" dirty="0" smtClean="0"/>
              <a:t>млрд руб</a:t>
            </a:r>
            <a:r>
              <a:rPr lang="ru-RU" dirty="0"/>
              <a:t>.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0085025" y="3263316"/>
            <a:ext cx="163848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 smtClean="0"/>
              <a:t>4,6</a:t>
            </a:r>
          </a:p>
          <a:p>
            <a:r>
              <a:rPr lang="ru-RU" dirty="0" smtClean="0"/>
              <a:t>тыс</a:t>
            </a:r>
            <a:r>
              <a:rPr lang="ru-RU" dirty="0"/>
              <a:t>.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9795665" y="5265147"/>
            <a:ext cx="206496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 smtClean="0"/>
              <a:t>53,9 </a:t>
            </a:r>
          </a:p>
          <a:p>
            <a:r>
              <a:rPr lang="ru-RU" dirty="0" smtClean="0"/>
              <a:t>млрд руб</a:t>
            </a:r>
            <a:r>
              <a:rPr lang="ru-RU" dirty="0"/>
              <a:t>.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0008906" y="6389209"/>
            <a:ext cx="163848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 smtClean="0"/>
              <a:t>17,1</a:t>
            </a:r>
            <a:r>
              <a:rPr lang="ru-RU" dirty="0" smtClean="0"/>
              <a:t> </a:t>
            </a:r>
          </a:p>
          <a:p>
            <a:r>
              <a:rPr lang="ru-RU" dirty="0" smtClean="0"/>
              <a:t>тыс</a:t>
            </a:r>
            <a:r>
              <a:rPr lang="ru-RU" dirty="0"/>
              <a:t>.</a:t>
            </a: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47" y="6251973"/>
            <a:ext cx="1154471" cy="1154471"/>
          </a:xfrm>
          <a:prstGeom prst="rect">
            <a:avLst/>
          </a:prstGeom>
        </p:spPr>
      </p:pic>
      <p:sp>
        <p:nvSpPr>
          <p:cNvPr id="54" name="Текст 2"/>
          <p:cNvSpPr txBox="1">
            <a:spLocks/>
          </p:cNvSpPr>
          <p:nvPr/>
        </p:nvSpPr>
        <p:spPr>
          <a:xfrm>
            <a:off x="363539" y="1163697"/>
            <a:ext cx="581954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b="1" kern="0" dirty="0" smtClean="0"/>
              <a:t>Партнерская сеть</a:t>
            </a:r>
            <a:endParaRPr lang="ru-RU" b="1" kern="0" dirty="0"/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363539" y="1938338"/>
            <a:ext cx="55873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Текст 2"/>
          <p:cNvSpPr txBox="1">
            <a:spLocks/>
          </p:cNvSpPr>
          <p:nvPr/>
        </p:nvSpPr>
        <p:spPr>
          <a:xfrm>
            <a:off x="6435156" y="1163636"/>
            <a:ext cx="581954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b="1" kern="0" dirty="0" smtClean="0"/>
              <a:t>Гарантийная поддержка</a:t>
            </a:r>
            <a:endParaRPr lang="ru-RU" b="1" kern="0" dirty="0"/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6435156" y="1938277"/>
            <a:ext cx="581954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/>
          <p:cNvGrpSpPr/>
          <p:nvPr/>
        </p:nvGrpSpPr>
        <p:grpSpPr>
          <a:xfrm>
            <a:off x="1876045" y="6387099"/>
            <a:ext cx="4176463" cy="884218"/>
            <a:chOff x="2432278" y="6236830"/>
            <a:chExt cx="4176463" cy="884218"/>
          </a:xfrm>
        </p:grpSpPr>
        <p:sp>
          <p:nvSpPr>
            <p:cNvPr id="60" name="Скругленный прямоугольник 59"/>
            <p:cNvSpPr/>
            <p:nvPr/>
          </p:nvSpPr>
          <p:spPr>
            <a:xfrm>
              <a:off x="2432278" y="6272648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4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63" name="Скругленный прямоугольник 62"/>
            <p:cNvSpPr/>
            <p:nvPr/>
          </p:nvSpPr>
          <p:spPr>
            <a:xfrm>
              <a:off x="3011393" y="6236830"/>
              <a:ext cx="3597348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лизинговых компании</a:t>
              </a:r>
            </a:p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(в рамках «пилотного» проекта)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grpSp>
        <p:nvGrpSpPr>
          <p:cNvPr id="66" name="Группа 65"/>
          <p:cNvGrpSpPr/>
          <p:nvPr/>
        </p:nvGrpSpPr>
        <p:grpSpPr>
          <a:xfrm>
            <a:off x="6506862" y="2238475"/>
            <a:ext cx="3256270" cy="839705"/>
            <a:chOff x="704616" y="8731785"/>
            <a:chExt cx="1548850" cy="630883"/>
          </a:xfrm>
        </p:grpSpPr>
        <p:sp>
          <p:nvSpPr>
            <p:cNvPr id="64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5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Общий объем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гарантийной поддержки</a:t>
              </a:r>
            </a:p>
          </p:txBody>
        </p:sp>
      </p:grpSp>
      <p:grpSp>
        <p:nvGrpSpPr>
          <p:cNvPr id="67" name="Группа 66"/>
          <p:cNvGrpSpPr/>
          <p:nvPr/>
        </p:nvGrpSpPr>
        <p:grpSpPr>
          <a:xfrm>
            <a:off x="6506862" y="3383464"/>
            <a:ext cx="3256270" cy="839705"/>
            <a:chOff x="704616" y="8731785"/>
            <a:chExt cx="1548850" cy="630883"/>
          </a:xfrm>
        </p:grpSpPr>
        <p:sp>
          <p:nvSpPr>
            <p:cNvPr id="68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9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 smtClean="0">
                  <a:latin typeface="Arial Narrow" panose="020B0606020202030204" pitchFamily="34" charset="0"/>
                </a:rPr>
                <a:t>Количество </a:t>
              </a:r>
              <a:r>
                <a:rPr lang="ru-RU" sz="1800" kern="0" dirty="0">
                  <a:latin typeface="Arial Narrow" panose="020B0606020202030204" pitchFamily="34" charset="0"/>
                </a:rPr>
                <a:t>субъектов МСП,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получивших гарантию</a:t>
              </a:r>
            </a:p>
          </p:txBody>
        </p:sp>
      </p:grpSp>
      <p:grpSp>
        <p:nvGrpSpPr>
          <p:cNvPr id="70" name="Группа 69"/>
          <p:cNvGrpSpPr/>
          <p:nvPr/>
        </p:nvGrpSpPr>
        <p:grpSpPr>
          <a:xfrm>
            <a:off x="6506862" y="5390649"/>
            <a:ext cx="3256270" cy="839705"/>
            <a:chOff x="704616" y="8731785"/>
            <a:chExt cx="1548850" cy="630883"/>
          </a:xfrm>
        </p:grpSpPr>
        <p:sp>
          <p:nvSpPr>
            <p:cNvPr id="71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2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Общий объем кредитной поддержки </a:t>
              </a:r>
              <a:r>
                <a:rPr lang="ru-RU" sz="1800" kern="0" dirty="0" smtClean="0">
                  <a:latin typeface="Arial Narrow" panose="020B0606020202030204" pitchFamily="34" charset="0"/>
                </a:rPr>
                <a:t>с </a:t>
              </a:r>
              <a:r>
                <a:rPr lang="ru-RU" sz="1800" kern="0" dirty="0">
                  <a:latin typeface="Arial Narrow" panose="020B0606020202030204" pitchFamily="34" charset="0"/>
                </a:rPr>
                <a:t>гарантией</a:t>
              </a:r>
            </a:p>
          </p:txBody>
        </p:sp>
      </p:grpSp>
      <p:grpSp>
        <p:nvGrpSpPr>
          <p:cNvPr id="73" name="Группа 72"/>
          <p:cNvGrpSpPr/>
          <p:nvPr/>
        </p:nvGrpSpPr>
        <p:grpSpPr>
          <a:xfrm>
            <a:off x="6506862" y="6509357"/>
            <a:ext cx="3256270" cy="839705"/>
            <a:chOff x="704616" y="8731785"/>
            <a:chExt cx="1548850" cy="630883"/>
          </a:xfrm>
        </p:grpSpPr>
        <p:sp>
          <p:nvSpPr>
            <p:cNvPr id="74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5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 smtClean="0">
                  <a:latin typeface="Arial Narrow" panose="020B0606020202030204" pitchFamily="34" charset="0"/>
                </a:rPr>
                <a:t>Новых рабочих мест</a:t>
              </a:r>
              <a:endParaRPr lang="ru-RU" sz="1800" kern="0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1876045" y="2678811"/>
            <a:ext cx="4498356" cy="884218"/>
            <a:chOff x="2432278" y="2526226"/>
            <a:chExt cx="4498356" cy="884218"/>
          </a:xfrm>
        </p:grpSpPr>
        <p:sp>
          <p:nvSpPr>
            <p:cNvPr id="36" name="Скругленный прямоугольник 35"/>
            <p:cNvSpPr/>
            <p:nvPr/>
          </p:nvSpPr>
          <p:spPr>
            <a:xfrm>
              <a:off x="2432278" y="2562044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40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39" name="Скругленный прямоугольник 38"/>
            <p:cNvSpPr/>
            <p:nvPr/>
          </p:nvSpPr>
          <p:spPr>
            <a:xfrm>
              <a:off x="3333286" y="2526226"/>
              <a:ext cx="3597348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банков-партнеров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1767572" y="4532955"/>
            <a:ext cx="4111351" cy="884218"/>
            <a:chOff x="2323805" y="4693601"/>
            <a:chExt cx="4111351" cy="884218"/>
          </a:xfrm>
        </p:grpSpPr>
        <p:sp>
          <p:nvSpPr>
            <p:cNvPr id="38" name="Скругленный прямоугольник 37"/>
            <p:cNvSpPr/>
            <p:nvPr/>
          </p:nvSpPr>
          <p:spPr>
            <a:xfrm>
              <a:off x="2323805" y="4729419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82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41" name="Скругленный прямоугольник 40"/>
            <p:cNvSpPr/>
            <p:nvPr/>
          </p:nvSpPr>
          <p:spPr>
            <a:xfrm>
              <a:off x="3164839" y="4693601"/>
              <a:ext cx="3270317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региональные гарантийные организации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sp>
        <p:nvSpPr>
          <p:cNvPr id="43" name="Равнобедренный треугольник 42"/>
          <p:cNvSpPr/>
          <p:nvPr/>
        </p:nvSpPr>
        <p:spPr>
          <a:xfrm flipV="1">
            <a:off x="6589584" y="4615883"/>
            <a:ext cx="5566950" cy="373090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677016" y="5439397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677016" y="3582430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Банк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677016" y="7291492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Лизинг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167800" y="2124673"/>
            <a:ext cx="1776164" cy="1776164"/>
            <a:chOff x="-1167900" y="2055274"/>
            <a:chExt cx="2233307" cy="2233307"/>
          </a:xfrm>
        </p:grpSpPr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167900" y="2055274"/>
              <a:ext cx="2233307" cy="2233307"/>
            </a:xfrm>
            <a:prstGeom prst="rect">
              <a:avLst/>
            </a:prstGeom>
          </p:spPr>
        </p:pic>
        <p:sp>
          <p:nvSpPr>
            <p:cNvPr id="6" name="Овал 5"/>
            <p:cNvSpPr/>
            <p:nvPr/>
          </p:nvSpPr>
          <p:spPr>
            <a:xfrm>
              <a:off x="-388997" y="2868348"/>
              <a:ext cx="650389" cy="65038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3600" dirty="0" smtClean="0"/>
                <a:t>₽</a:t>
              </a:r>
              <a:endParaRPr lang="ru-RU" sz="3600" dirty="0"/>
            </a:p>
          </p:txBody>
        </p:sp>
      </p:grpSp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330" y="4178154"/>
            <a:ext cx="1305103" cy="124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680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23784" y="152402"/>
            <a:ext cx="8858715" cy="698685"/>
          </a:xfrm>
        </p:spPr>
        <p:txBody>
          <a:bodyPr/>
          <a:lstStyle/>
          <a:p>
            <a:r>
              <a:rPr lang="ru-RU" dirty="0"/>
              <a:t>Многоканальная система продвижения гарантийных продуктов </a:t>
            </a:r>
            <a:r>
              <a:rPr lang="ru-RU" dirty="0" smtClean="0"/>
              <a:t>НГС</a:t>
            </a:r>
            <a:r>
              <a:rPr lang="ru-RU" dirty="0"/>
              <a:t>: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b="0" dirty="0" smtClean="0"/>
              <a:t>Трехуровневая модель </a:t>
            </a:r>
            <a:r>
              <a:rPr lang="ru-RU" b="0" dirty="0"/>
              <a:t>гарантийной поддержки субъектов </a:t>
            </a:r>
            <a:r>
              <a:rPr lang="ru-RU" b="0" dirty="0" smtClean="0"/>
              <a:t>МСП</a:t>
            </a:r>
            <a:endParaRPr lang="ru-RU" b="0" dirty="0"/>
          </a:p>
        </p:txBody>
      </p:sp>
      <p:graphicFrame>
        <p:nvGraphicFramePr>
          <p:cNvPr id="4" name="Group 3"/>
          <p:cNvGraphicFramePr>
            <a:graphicFrameLocks/>
          </p:cNvGraphicFramePr>
          <p:nvPr>
            <p:custDataLst>
              <p:tags r:id="rId1"/>
            </p:custDataLst>
            <p:extLst/>
          </p:nvPr>
        </p:nvGraphicFramePr>
        <p:xfrm>
          <a:off x="370506" y="1824569"/>
          <a:ext cx="11884994" cy="5995205"/>
        </p:xfrm>
        <a:graphic>
          <a:graphicData uri="http://schemas.openxmlformats.org/drawingml/2006/table">
            <a:tbl>
              <a:tblPr/>
              <a:tblGrid>
                <a:gridCol w="175615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8705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2525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6550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805053">
                  <a:extLst>
                    <a:ext uri="{9D8B030D-6E8A-4147-A177-3AD203B41FA5}">
                      <a16:colId xmlns:a16="http://schemas.microsoft.com/office/drawing/2014/main" xmlns="" val="3653545549"/>
                    </a:ext>
                  </a:extLst>
                </a:gridCol>
                <a:gridCol w="3045965">
                  <a:extLst>
                    <a:ext uri="{9D8B030D-6E8A-4147-A177-3AD203B41FA5}">
                      <a16:colId xmlns:a16="http://schemas.microsoft.com/office/drawing/2014/main" xmlns="" val="190580340"/>
                    </a:ext>
                  </a:extLst>
                </a:gridCol>
              </a:tblGrid>
              <a:tr h="728847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Продукты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лиентский сегмент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лановый объем 2016 г.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аналы продаж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рганизации - источники поступления заявок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358234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Корпорация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гарантий для средних и крупных проектов 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 в рамках Программы стимулирования кредитования субъектов МСП («Программа 6,5%»)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Средний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3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Банки-партнеры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раслевые ассоциации/общественные организаци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едеральные и региональные органы исполнительной власт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СП Банк и РГО</a:t>
                      </a: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061115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Bef>
                          <a:spcPts val="1800"/>
                        </a:spcBef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МСП Банк</a:t>
                      </a:r>
                      <a:endParaRPr lang="en-US" sz="1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гарантий в рамках «поточных» технологий 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алый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2</a:t>
                      </a:r>
                      <a:r>
                        <a:rPr kumimoji="0" lang="ru-RU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Банки-партнеры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ногофункциональные центры предоставления государственных и муниципальных услуг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едеральные и региональные органы исполнительной власт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орпорация МСП</a:t>
                      </a: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042591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82 РГО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 в рамках «поточных» технологий 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Микро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3</a:t>
                      </a:r>
                      <a:r>
                        <a:rPr kumimoji="0" lang="ru-RU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53991">
                <a:tc gridSpan="3"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2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Итого НГС</a:t>
                      </a:r>
                      <a:endParaRPr kumimoji="0" lang="en-US" sz="2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ru-RU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65</a:t>
                      </a:r>
                      <a:r>
                        <a:rPr kumimoji="0" lang="en-US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млрд руб.</a:t>
                      </a:r>
                      <a:endParaRPr kumimoji="0" lang="en-US" sz="16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0051910"/>
                  </a:ext>
                </a:extLst>
              </a:tr>
            </a:tbl>
          </a:graphicData>
        </a:graphic>
      </p:graphicFrame>
      <p:sp>
        <p:nvSpPr>
          <p:cNvPr id="5" name="Rounded Rectangle 73"/>
          <p:cNvSpPr/>
          <p:nvPr/>
        </p:nvSpPr>
        <p:spPr>
          <a:xfrm>
            <a:off x="7569200" y="3070923"/>
            <a:ext cx="1574800" cy="412645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6" name="Rounded Rectangle 73"/>
          <p:cNvSpPr/>
          <p:nvPr/>
        </p:nvSpPr>
        <p:spPr>
          <a:xfrm>
            <a:off x="7569200" y="3631885"/>
            <a:ext cx="1574800" cy="450229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7" name="Rounded Rectangle 73"/>
          <p:cNvSpPr/>
          <p:nvPr/>
        </p:nvSpPr>
        <p:spPr>
          <a:xfrm>
            <a:off x="7569200" y="4230430"/>
            <a:ext cx="1574800" cy="34758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Прямы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8" name="Rounded Rectangle 73"/>
          <p:cNvSpPr/>
          <p:nvPr/>
        </p:nvSpPr>
        <p:spPr>
          <a:xfrm>
            <a:off x="7569200" y="5233824"/>
            <a:ext cx="1574800" cy="339518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9" name="Rounded Rectangle 73"/>
          <p:cNvSpPr/>
          <p:nvPr/>
        </p:nvSpPr>
        <p:spPr>
          <a:xfrm>
            <a:off x="7559675" y="5686128"/>
            <a:ext cx="1588959" cy="35745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793100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/>
              <a:t>НГС: Целевая трехуровневая модель оказания гарантийной поддержки субъектам МСП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363538" y="1567741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ounded Rectangle 73"/>
          <p:cNvSpPr/>
          <p:nvPr/>
        </p:nvSpPr>
        <p:spPr>
          <a:xfrm>
            <a:off x="7569200" y="6300411"/>
            <a:ext cx="1574800" cy="339518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16" name="Rounded Rectangle 73"/>
          <p:cNvSpPr/>
          <p:nvPr/>
        </p:nvSpPr>
        <p:spPr>
          <a:xfrm>
            <a:off x="7559675" y="6752715"/>
            <a:ext cx="1588959" cy="35745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923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09094" y="152402"/>
            <a:ext cx="8545609" cy="698685"/>
          </a:xfrm>
        </p:spPr>
        <p:txBody>
          <a:bodyPr/>
          <a:lstStyle/>
          <a:p>
            <a:r>
              <a:rPr lang="ru-RU" dirty="0"/>
              <a:t>Что такое независимая гарантия Корпорации</a:t>
            </a:r>
            <a:r>
              <a:rPr lang="ru-RU" dirty="0" smtClean="0"/>
              <a:t>?</a:t>
            </a:r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2461379" y="1095360"/>
            <a:ext cx="9793324" cy="102770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/>
          <a:p>
            <a:pPr lvl="0" algn="just"/>
            <a:r>
              <a:rPr lang="ru-RU" sz="1600" dirty="0" smtClean="0"/>
              <a:t>Оформленная в </a:t>
            </a:r>
            <a:r>
              <a:rPr lang="ru-RU" sz="1600" dirty="0"/>
              <a:t>соответствии с требованиями действующего законодательства Российской Федерации независимая гарантия, в соответствии с которой Корпорация обязывается перед Банком отвечать за исполнение Субъектом МСП (Принципалом) его обязательств по кредитному договору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363539" y="1095360"/>
            <a:ext cx="2080722" cy="1027705"/>
          </a:xfrm>
          <a:prstGeom prst="roundRect">
            <a:avLst>
              <a:gd name="adj" fmla="val 0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600" b="1" dirty="0"/>
              <a:t>Независимая гарантия Корпорации 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363539" y="2027299"/>
            <a:ext cx="11891164" cy="876239"/>
            <a:chOff x="363539" y="1062099"/>
            <a:chExt cx="5819547" cy="876239"/>
          </a:xfrm>
        </p:grpSpPr>
        <p:sp>
          <p:nvSpPr>
            <p:cNvPr id="14" name="Текст 2"/>
            <p:cNvSpPr txBox="1">
              <a:spLocks/>
            </p:cNvSpPr>
            <p:nvPr/>
          </p:nvSpPr>
          <p:spPr>
            <a:xfrm>
              <a:off x="363539" y="1062099"/>
              <a:ext cx="5819547" cy="725733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2pPr>
              <a:lvl3pPr marL="24296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3pPr>
              <a:lvl4pPr marL="47643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4pPr>
              <a:lvl5pPr marL="719391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5pPr>
              <a:lvl6pPr marL="1495728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6pPr>
              <a:lvl7pPr marL="2042391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7pPr>
              <a:lvl8pPr marL="258905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8pPr>
              <a:lvl9pPr marL="313571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b="1" kern="0" dirty="0" smtClean="0"/>
                <a:t>Схема взаимодействия</a:t>
              </a:r>
              <a:endParaRPr lang="ru-RU" b="1" kern="0" dirty="0"/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>
            <a:xfrm>
              <a:off x="363539" y="1938338"/>
              <a:ext cx="581954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Группа 48"/>
          <p:cNvGrpSpPr/>
          <p:nvPr/>
        </p:nvGrpSpPr>
        <p:grpSpPr>
          <a:xfrm>
            <a:off x="2358621" y="5136064"/>
            <a:ext cx="2644303" cy="584988"/>
            <a:chOff x="2306184" y="6383887"/>
            <a:chExt cx="2644303" cy="584988"/>
          </a:xfrm>
        </p:grpSpPr>
        <p:pic>
          <p:nvPicPr>
            <p:cNvPr id="38" name="Рисунок 37"/>
            <p:cNvPicPr>
              <a:picLocks noChangeAspect="1"/>
            </p:cNvPicPr>
            <p:nvPr/>
          </p:nvPicPr>
          <p:blipFill rotWithShape="1">
            <a:blip r:embed="rId2" cstate="print"/>
            <a:srcRect l="2083" t="12026" r="15209" b="51231"/>
            <a:stretch/>
          </p:blipFill>
          <p:spPr>
            <a:xfrm>
              <a:off x="2370601" y="6459931"/>
              <a:ext cx="1733245" cy="432901"/>
            </a:xfrm>
            <a:prstGeom prst="rect">
              <a:avLst/>
            </a:prstGeom>
          </p:spPr>
        </p:pic>
        <p:sp>
          <p:nvSpPr>
            <p:cNvPr id="39" name="Скругленный прямоугольник 38"/>
            <p:cNvSpPr/>
            <p:nvPr/>
          </p:nvSpPr>
          <p:spPr>
            <a:xfrm>
              <a:off x="2306184" y="6383887"/>
              <a:ext cx="2644303" cy="584988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rgbClr val="C00000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r>
                <a:rPr lang="ru-RU" sz="1100" b="1" dirty="0" smtClean="0">
                  <a:solidFill>
                    <a:schemeClr val="tx1"/>
                  </a:solidFill>
                </a:rPr>
                <a:t>Гарант</a:t>
              </a:r>
            </a:p>
          </p:txBody>
        </p:sp>
      </p:grpSp>
      <p:sp>
        <p:nvSpPr>
          <p:cNvPr id="47" name="Скругленный прямоугольник 46"/>
          <p:cNvSpPr/>
          <p:nvPr/>
        </p:nvSpPr>
        <p:spPr>
          <a:xfrm>
            <a:off x="363540" y="3550001"/>
            <a:ext cx="5721950" cy="4133061"/>
          </a:xfrm>
          <a:prstGeom prst="roundRect">
            <a:avLst>
              <a:gd name="adj" fmla="val 2995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694295" y="6374251"/>
            <a:ext cx="5216845" cy="1027706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Независимая гарантия в размере: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До 50% суммы обязательств по кредиту (основной долг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До 70% от суммы гарантии исполнения контракта, суммы кредита на исполнение контракта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2644337" y="4129693"/>
            <a:ext cx="1158586" cy="762098"/>
            <a:chOff x="2097996" y="4977591"/>
            <a:chExt cx="2226204" cy="922139"/>
          </a:xfrm>
        </p:grpSpPr>
        <p:grpSp>
          <p:nvGrpSpPr>
            <p:cNvPr id="50" name="Группа 49"/>
            <p:cNvGrpSpPr/>
            <p:nvPr/>
          </p:nvGrpSpPr>
          <p:grpSpPr>
            <a:xfrm>
              <a:off x="2155712" y="5262161"/>
              <a:ext cx="1988198" cy="327551"/>
              <a:chOff x="1997902" y="5521643"/>
              <a:chExt cx="2405720" cy="327551"/>
            </a:xfrm>
          </p:grpSpPr>
          <p:cxnSp>
            <p:nvCxnSpPr>
              <p:cNvPr id="32" name="Прямая со стрелкой 31"/>
              <p:cNvCxnSpPr/>
              <p:nvPr/>
            </p:nvCxnSpPr>
            <p:spPr>
              <a:xfrm flipH="1">
                <a:off x="2283652" y="5521643"/>
                <a:ext cx="2119970" cy="0"/>
              </a:xfrm>
              <a:prstGeom prst="straightConnector1">
                <a:avLst/>
              </a:prstGeom>
              <a:ln w="76200">
                <a:solidFill>
                  <a:srgbClr val="1F4E79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Прямая со стрелкой 44"/>
              <p:cNvCxnSpPr/>
              <p:nvPr/>
            </p:nvCxnSpPr>
            <p:spPr>
              <a:xfrm>
                <a:off x="1997902" y="5849194"/>
                <a:ext cx="2119970" cy="0"/>
              </a:xfrm>
              <a:prstGeom prst="straightConnector1">
                <a:avLst/>
              </a:prstGeom>
              <a:ln w="76200">
                <a:solidFill>
                  <a:srgbClr val="00A1DE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2" name="Прямоугольник 51"/>
            <p:cNvSpPr/>
            <p:nvPr/>
          </p:nvSpPr>
          <p:spPr>
            <a:xfrm>
              <a:off x="2611312" y="4977591"/>
              <a:ext cx="1712888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just"/>
              <a:r>
                <a:rPr lang="ru-RU" sz="1200" dirty="0" smtClean="0">
                  <a:solidFill>
                    <a:srgbClr val="1F4E79"/>
                  </a:solidFill>
                </a:rPr>
                <a:t>Залог</a:t>
              </a:r>
              <a:endParaRPr lang="ru-RU" sz="1200" dirty="0">
                <a:solidFill>
                  <a:srgbClr val="1F4E79"/>
                </a:solidFill>
              </a:endParaRP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2097996" y="5671583"/>
              <a:ext cx="1590314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r"/>
              <a:r>
                <a:rPr lang="ru-RU" sz="1200" dirty="0" smtClean="0">
                  <a:solidFill>
                    <a:srgbClr val="00A1DE"/>
                  </a:solidFill>
                </a:rPr>
                <a:t>Кредит</a:t>
              </a:r>
              <a:endParaRPr lang="ru-RU" sz="1200" dirty="0">
                <a:solidFill>
                  <a:srgbClr val="00A1DE"/>
                </a:solidFill>
              </a:endParaRPr>
            </a:p>
          </p:txBody>
        </p:sp>
      </p:grpSp>
      <p:cxnSp>
        <p:nvCxnSpPr>
          <p:cNvPr id="54" name="Elbow Connector 187"/>
          <p:cNvCxnSpPr>
            <a:endCxn id="58" idx="2"/>
          </p:cNvCxnSpPr>
          <p:nvPr/>
        </p:nvCxnSpPr>
        <p:spPr>
          <a:xfrm rot="10800000">
            <a:off x="1259447" y="5030906"/>
            <a:ext cx="1021299" cy="471836"/>
          </a:xfrm>
          <a:prstGeom prst="bentConnector2">
            <a:avLst/>
          </a:prstGeom>
          <a:ln w="76200">
            <a:solidFill>
              <a:srgbClr val="C00000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ounded Rectangle 238"/>
          <p:cNvSpPr/>
          <p:nvPr/>
        </p:nvSpPr>
        <p:spPr>
          <a:xfrm flipH="1">
            <a:off x="1210792" y="4967993"/>
            <a:ext cx="97308" cy="62913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endParaRPr lang="ru-RU" sz="900" b="1" kern="0" dirty="0">
              <a:solidFill>
                <a:schemeClr val="tx2"/>
              </a:solidFill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1071987" y="5566621"/>
            <a:ext cx="1076999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400" dirty="0" smtClean="0">
                <a:solidFill>
                  <a:srgbClr val="C00000"/>
                </a:solidFill>
              </a:rPr>
              <a:t>Гарантия</a:t>
            </a:r>
            <a:endParaRPr lang="ru-RU" sz="1400" dirty="0">
              <a:solidFill>
                <a:srgbClr val="C00000"/>
              </a:solidFill>
            </a:endParaRPr>
          </a:p>
        </p:txBody>
      </p:sp>
      <p:sp>
        <p:nvSpPr>
          <p:cNvPr id="64" name="Oval 287"/>
          <p:cNvSpPr/>
          <p:nvPr/>
        </p:nvSpPr>
        <p:spPr>
          <a:xfrm>
            <a:off x="1013561" y="5568330"/>
            <a:ext cx="245885" cy="245885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Oval 287"/>
          <p:cNvSpPr/>
          <p:nvPr/>
        </p:nvSpPr>
        <p:spPr>
          <a:xfrm>
            <a:off x="469748" y="6560427"/>
            <a:ext cx="203211" cy="203211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7" name="Прямая соединительная линия 66"/>
          <p:cNvCxnSpPr/>
          <p:nvPr/>
        </p:nvCxnSpPr>
        <p:spPr>
          <a:xfrm>
            <a:off x="464560" y="6404611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Скругленный прямоугольник 39"/>
          <p:cNvSpPr/>
          <p:nvPr/>
        </p:nvSpPr>
        <p:spPr>
          <a:xfrm>
            <a:off x="3739861" y="4092291"/>
            <a:ext cx="2171279" cy="727937"/>
          </a:xfrm>
          <a:prstGeom prst="roundRect">
            <a:avLst>
              <a:gd name="adj" fmla="val 6507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/>
              <a:t>Субъект МСП</a:t>
            </a:r>
          </a:p>
          <a:p>
            <a:pPr marL="630238"/>
            <a:r>
              <a:rPr lang="ru-RU" sz="1000" dirty="0"/>
              <a:t>(заемщик, принципал по гарантии Корпорации)</a:t>
            </a: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9544193" y="3699644"/>
            <a:ext cx="2500662" cy="727937"/>
          </a:xfrm>
          <a:prstGeom prst="roundRect">
            <a:avLst>
              <a:gd name="adj" fmla="val 6507"/>
            </a:avLst>
          </a:prstGeom>
          <a:solidFill>
            <a:srgbClr val="FCD7B9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>
                <a:solidFill>
                  <a:schemeClr val="tx1"/>
                </a:solidFill>
              </a:rPr>
              <a:t>Региональная гарантийная организация</a:t>
            </a:r>
          </a:p>
          <a:p>
            <a:pPr marL="630238"/>
            <a:r>
              <a:rPr lang="ru-RU" sz="1000" dirty="0" smtClean="0">
                <a:solidFill>
                  <a:schemeClr val="tx1"/>
                </a:solidFill>
              </a:rPr>
              <a:t>(поручитель)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79" name="Скругленный прямоугольник 78"/>
          <p:cNvSpPr/>
          <p:nvPr/>
        </p:nvSpPr>
        <p:spPr>
          <a:xfrm>
            <a:off x="363538" y="3034806"/>
            <a:ext cx="5721952" cy="376451"/>
          </a:xfrm>
          <a:prstGeom prst="roundRect">
            <a:avLst>
              <a:gd name="adj" fmla="val 16628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/>
              <a:t>Без участия Региональной гарантийной организации</a:t>
            </a:r>
          </a:p>
        </p:txBody>
      </p:sp>
      <p:sp>
        <p:nvSpPr>
          <p:cNvPr id="80" name="Скругленный прямоугольник 79"/>
          <p:cNvSpPr/>
          <p:nvPr/>
        </p:nvSpPr>
        <p:spPr>
          <a:xfrm>
            <a:off x="6519633" y="3034806"/>
            <a:ext cx="5721952" cy="376451"/>
          </a:xfrm>
          <a:prstGeom prst="roundRect">
            <a:avLst>
              <a:gd name="adj" fmla="val 16628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/>
              <a:t>С участием Региональной гарантийной организации</a:t>
            </a:r>
          </a:p>
        </p:txBody>
      </p:sp>
      <p:grpSp>
        <p:nvGrpSpPr>
          <p:cNvPr id="124" name="Группа 123"/>
          <p:cNvGrpSpPr/>
          <p:nvPr/>
        </p:nvGrpSpPr>
        <p:grpSpPr>
          <a:xfrm>
            <a:off x="8514716" y="5647797"/>
            <a:ext cx="2644303" cy="584988"/>
            <a:chOff x="2306184" y="6383887"/>
            <a:chExt cx="2644303" cy="584988"/>
          </a:xfrm>
        </p:grpSpPr>
        <p:pic>
          <p:nvPicPr>
            <p:cNvPr id="125" name="Рисунок 124"/>
            <p:cNvPicPr>
              <a:picLocks noChangeAspect="1"/>
            </p:cNvPicPr>
            <p:nvPr/>
          </p:nvPicPr>
          <p:blipFill rotWithShape="1">
            <a:blip r:embed="rId2" cstate="print"/>
            <a:srcRect l="2083" t="12026" r="15209" b="51231"/>
            <a:stretch/>
          </p:blipFill>
          <p:spPr>
            <a:xfrm>
              <a:off x="2370601" y="6459931"/>
              <a:ext cx="1733245" cy="432901"/>
            </a:xfrm>
            <a:prstGeom prst="rect">
              <a:avLst/>
            </a:prstGeom>
          </p:spPr>
        </p:pic>
        <p:sp>
          <p:nvSpPr>
            <p:cNvPr id="126" name="Скругленный прямоугольник 125"/>
            <p:cNvSpPr/>
            <p:nvPr/>
          </p:nvSpPr>
          <p:spPr>
            <a:xfrm>
              <a:off x="2306184" y="6383887"/>
              <a:ext cx="2644303" cy="584988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rgbClr val="C00000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r>
                <a:rPr lang="ru-RU" sz="1100" b="1" dirty="0" smtClean="0">
                  <a:solidFill>
                    <a:schemeClr val="tx1"/>
                  </a:solidFill>
                </a:rPr>
                <a:t>Гарант</a:t>
              </a:r>
            </a:p>
          </p:txBody>
        </p:sp>
      </p:grpSp>
      <p:sp>
        <p:nvSpPr>
          <p:cNvPr id="127" name="Скругленный прямоугольник 126"/>
          <p:cNvSpPr/>
          <p:nvPr/>
        </p:nvSpPr>
        <p:spPr>
          <a:xfrm>
            <a:off x="6519635" y="3550001"/>
            <a:ext cx="5721950" cy="4133061"/>
          </a:xfrm>
          <a:prstGeom prst="roundRect">
            <a:avLst>
              <a:gd name="adj" fmla="val 2995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128" name="Прямоугольник 127"/>
          <p:cNvSpPr/>
          <p:nvPr/>
        </p:nvSpPr>
        <p:spPr>
          <a:xfrm>
            <a:off x="6850390" y="7289618"/>
            <a:ext cx="5216845" cy="311252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Независимая гарантия Корпорации на часть непокрытой поручительством РГО суммы кредита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grpSp>
        <p:nvGrpSpPr>
          <p:cNvPr id="129" name="Группа 128"/>
          <p:cNvGrpSpPr/>
          <p:nvPr/>
        </p:nvGrpSpPr>
        <p:grpSpPr>
          <a:xfrm>
            <a:off x="8800432" y="4641426"/>
            <a:ext cx="1158586" cy="762098"/>
            <a:chOff x="2097996" y="4977591"/>
            <a:chExt cx="2226204" cy="922139"/>
          </a:xfrm>
        </p:grpSpPr>
        <p:grpSp>
          <p:nvGrpSpPr>
            <p:cNvPr id="130" name="Группа 129"/>
            <p:cNvGrpSpPr/>
            <p:nvPr/>
          </p:nvGrpSpPr>
          <p:grpSpPr>
            <a:xfrm>
              <a:off x="2155712" y="5262161"/>
              <a:ext cx="1988198" cy="327551"/>
              <a:chOff x="1997902" y="5521643"/>
              <a:chExt cx="2405720" cy="327551"/>
            </a:xfrm>
          </p:grpSpPr>
          <p:cxnSp>
            <p:nvCxnSpPr>
              <p:cNvPr id="133" name="Прямая со стрелкой 132"/>
              <p:cNvCxnSpPr/>
              <p:nvPr/>
            </p:nvCxnSpPr>
            <p:spPr>
              <a:xfrm flipH="1">
                <a:off x="2283652" y="5521643"/>
                <a:ext cx="2119970" cy="0"/>
              </a:xfrm>
              <a:prstGeom prst="straightConnector1">
                <a:avLst/>
              </a:prstGeom>
              <a:ln w="76200">
                <a:solidFill>
                  <a:srgbClr val="1F4E79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Прямая со стрелкой 133"/>
              <p:cNvCxnSpPr/>
              <p:nvPr/>
            </p:nvCxnSpPr>
            <p:spPr>
              <a:xfrm>
                <a:off x="1997902" y="5849194"/>
                <a:ext cx="2119970" cy="0"/>
              </a:xfrm>
              <a:prstGeom prst="straightConnector1">
                <a:avLst/>
              </a:prstGeom>
              <a:ln w="76200">
                <a:solidFill>
                  <a:srgbClr val="00A1DE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1" name="Прямоугольник 130"/>
            <p:cNvSpPr/>
            <p:nvPr/>
          </p:nvSpPr>
          <p:spPr>
            <a:xfrm>
              <a:off x="2611312" y="4977591"/>
              <a:ext cx="1712888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just"/>
              <a:r>
                <a:rPr lang="ru-RU" sz="1200" dirty="0" smtClean="0">
                  <a:solidFill>
                    <a:srgbClr val="1F4E79"/>
                  </a:solidFill>
                </a:rPr>
                <a:t>Залог</a:t>
              </a:r>
              <a:endParaRPr lang="ru-RU" sz="1200" dirty="0">
                <a:solidFill>
                  <a:srgbClr val="1F4E79"/>
                </a:solidFill>
              </a:endParaRPr>
            </a:p>
          </p:txBody>
        </p:sp>
        <p:sp>
          <p:nvSpPr>
            <p:cNvPr id="132" name="Прямоугольник 131"/>
            <p:cNvSpPr/>
            <p:nvPr/>
          </p:nvSpPr>
          <p:spPr>
            <a:xfrm>
              <a:off x="2097996" y="5671583"/>
              <a:ext cx="1590314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r"/>
              <a:r>
                <a:rPr lang="ru-RU" sz="1200" dirty="0" smtClean="0">
                  <a:solidFill>
                    <a:srgbClr val="00A1DE"/>
                  </a:solidFill>
                </a:rPr>
                <a:t>Кредит</a:t>
              </a:r>
              <a:endParaRPr lang="ru-RU" sz="1200" dirty="0">
                <a:solidFill>
                  <a:srgbClr val="00A1DE"/>
                </a:solidFill>
              </a:endParaRPr>
            </a:p>
          </p:txBody>
        </p:sp>
      </p:grpSp>
      <p:cxnSp>
        <p:nvCxnSpPr>
          <p:cNvPr id="135" name="Elbow Connector 187"/>
          <p:cNvCxnSpPr>
            <a:stCxn id="126" idx="1"/>
          </p:cNvCxnSpPr>
          <p:nvPr/>
        </p:nvCxnSpPr>
        <p:spPr>
          <a:xfrm rot="10800000">
            <a:off x="7706294" y="5331961"/>
            <a:ext cx="808422" cy="608330"/>
          </a:xfrm>
          <a:prstGeom prst="bentConnector2">
            <a:avLst/>
          </a:prstGeom>
          <a:ln w="76200">
            <a:solidFill>
              <a:srgbClr val="C00000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Прямоугольник 136"/>
          <p:cNvSpPr/>
          <p:nvPr/>
        </p:nvSpPr>
        <p:spPr>
          <a:xfrm>
            <a:off x="7376295" y="5977456"/>
            <a:ext cx="1076999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200" dirty="0" smtClean="0">
                <a:solidFill>
                  <a:srgbClr val="C00000"/>
                </a:solidFill>
              </a:rPr>
              <a:t>Гарантия</a:t>
            </a:r>
            <a:endParaRPr lang="ru-RU" sz="1200" dirty="0">
              <a:solidFill>
                <a:srgbClr val="C00000"/>
              </a:solidFill>
            </a:endParaRPr>
          </a:p>
        </p:txBody>
      </p:sp>
      <p:sp>
        <p:nvSpPr>
          <p:cNvPr id="138" name="Oval 287"/>
          <p:cNvSpPr/>
          <p:nvPr/>
        </p:nvSpPr>
        <p:spPr>
          <a:xfrm>
            <a:off x="7432750" y="5979165"/>
            <a:ext cx="245885" cy="245885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40" name="Прямая соединительная линия 139"/>
          <p:cNvCxnSpPr/>
          <p:nvPr/>
        </p:nvCxnSpPr>
        <p:spPr>
          <a:xfrm>
            <a:off x="6620655" y="6404611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Скругленный прямоугольник 140"/>
          <p:cNvSpPr/>
          <p:nvPr/>
        </p:nvSpPr>
        <p:spPr>
          <a:xfrm>
            <a:off x="9895956" y="4604024"/>
            <a:ext cx="2171279" cy="727937"/>
          </a:xfrm>
          <a:prstGeom prst="roundRect">
            <a:avLst>
              <a:gd name="adj" fmla="val 6507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/>
              <a:t>Субъект МСП</a:t>
            </a:r>
          </a:p>
          <a:p>
            <a:pPr marL="630238"/>
            <a:r>
              <a:rPr lang="ru-RU" sz="1000" dirty="0"/>
              <a:t>(заемщик, принципал по гарантии Корпорации)</a:t>
            </a:r>
          </a:p>
        </p:txBody>
      </p:sp>
      <p:cxnSp>
        <p:nvCxnSpPr>
          <p:cNvPr id="143" name="Elbow Connector 187"/>
          <p:cNvCxnSpPr>
            <a:stCxn id="42" idx="1"/>
          </p:cNvCxnSpPr>
          <p:nvPr/>
        </p:nvCxnSpPr>
        <p:spPr>
          <a:xfrm rot="10800000" flipV="1">
            <a:off x="7706295" y="4063612"/>
            <a:ext cx="1837899" cy="540411"/>
          </a:xfrm>
          <a:prstGeom prst="bentConnector2">
            <a:avLst/>
          </a:prstGeom>
          <a:ln w="76200">
            <a:solidFill>
              <a:srgbClr val="FCD7B9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Прямоугольник 143"/>
          <p:cNvSpPr/>
          <p:nvPr/>
        </p:nvSpPr>
        <p:spPr>
          <a:xfrm>
            <a:off x="7251368" y="3767546"/>
            <a:ext cx="1691283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200" dirty="0" smtClean="0">
                <a:solidFill>
                  <a:srgbClr val="F5750B"/>
                </a:solidFill>
              </a:rPr>
              <a:t>Поручительство</a:t>
            </a:r>
            <a:endParaRPr lang="ru-RU" sz="1200" dirty="0">
              <a:solidFill>
                <a:srgbClr val="F5750B"/>
              </a:solidFill>
            </a:endParaRPr>
          </a:p>
        </p:txBody>
      </p:sp>
      <p:sp>
        <p:nvSpPr>
          <p:cNvPr id="145" name="Oval 287"/>
          <p:cNvSpPr/>
          <p:nvPr/>
        </p:nvSpPr>
        <p:spPr>
          <a:xfrm>
            <a:off x="7432750" y="3769255"/>
            <a:ext cx="245885" cy="245885"/>
          </a:xfrm>
          <a:prstGeom prst="ellipse">
            <a:avLst/>
          </a:prstGeom>
          <a:solidFill>
            <a:srgbClr val="F5750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6" name="Прямоугольник 145"/>
          <p:cNvSpPr/>
          <p:nvPr/>
        </p:nvSpPr>
        <p:spPr>
          <a:xfrm>
            <a:off x="6850390" y="6892729"/>
            <a:ext cx="5216845" cy="311252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Поручительство РГО за исполнение МСП обязательств в рамках собственного лимита РГО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48" name="Oval 287"/>
          <p:cNvSpPr/>
          <p:nvPr/>
        </p:nvSpPr>
        <p:spPr>
          <a:xfrm>
            <a:off x="6625843" y="6958692"/>
            <a:ext cx="203211" cy="203211"/>
          </a:xfrm>
          <a:prstGeom prst="ellipse">
            <a:avLst/>
          </a:prstGeom>
          <a:solidFill>
            <a:srgbClr val="F5750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4" name="Группа 23"/>
          <p:cNvGrpSpPr/>
          <p:nvPr/>
        </p:nvGrpSpPr>
        <p:grpSpPr>
          <a:xfrm>
            <a:off x="6747848" y="6464447"/>
            <a:ext cx="3935245" cy="311252"/>
            <a:chOff x="6747848" y="6797281"/>
            <a:chExt cx="3935245" cy="311252"/>
          </a:xfrm>
        </p:grpSpPr>
        <p:sp>
          <p:nvSpPr>
            <p:cNvPr id="139" name="Oval 287"/>
            <p:cNvSpPr/>
            <p:nvPr/>
          </p:nvSpPr>
          <p:spPr>
            <a:xfrm>
              <a:off x="7376322" y="6829965"/>
              <a:ext cx="245885" cy="245885"/>
            </a:xfrm>
            <a:prstGeom prst="ellipse">
              <a:avLst/>
            </a:prstGeom>
            <a:solidFill>
              <a:srgbClr val="C00000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Г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9" name="Oval 287"/>
            <p:cNvSpPr/>
            <p:nvPr/>
          </p:nvSpPr>
          <p:spPr>
            <a:xfrm>
              <a:off x="6747848" y="6829965"/>
              <a:ext cx="245885" cy="245885"/>
            </a:xfrm>
            <a:prstGeom prst="ellipse">
              <a:avLst/>
            </a:prstGeom>
            <a:solidFill>
              <a:srgbClr val="F5750B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Прямоугольник 149"/>
            <p:cNvSpPr/>
            <p:nvPr/>
          </p:nvSpPr>
          <p:spPr>
            <a:xfrm>
              <a:off x="7936445" y="6797281"/>
              <a:ext cx="2746648" cy="311252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/>
              <a:r>
                <a:rPr lang="ru-RU" sz="10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50-70% суммы кредита</a:t>
              </a:r>
              <a:endParaRPr lang="ru-RU" sz="105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151" name="Oval 287"/>
            <p:cNvSpPr/>
            <p:nvPr/>
          </p:nvSpPr>
          <p:spPr>
            <a:xfrm>
              <a:off x="7690559" y="6829965"/>
              <a:ext cx="245885" cy="245885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=</a:t>
              </a: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Oval 287"/>
            <p:cNvSpPr/>
            <p:nvPr/>
          </p:nvSpPr>
          <p:spPr>
            <a:xfrm>
              <a:off x="7062085" y="6829965"/>
              <a:ext cx="245885" cy="245885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+</a:t>
              </a: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55" name="Oval 287"/>
          <p:cNvSpPr/>
          <p:nvPr/>
        </p:nvSpPr>
        <p:spPr>
          <a:xfrm>
            <a:off x="6625843" y="7349269"/>
            <a:ext cx="203211" cy="203211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56" name="Прямая соединительная линия 155"/>
          <p:cNvCxnSpPr/>
          <p:nvPr/>
        </p:nvCxnSpPr>
        <p:spPr>
          <a:xfrm>
            <a:off x="6620655" y="6835535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Freeform 25"/>
          <p:cNvSpPr>
            <a:spLocks noChangeAspect="1" noEditPoints="1"/>
          </p:cNvSpPr>
          <p:nvPr/>
        </p:nvSpPr>
        <p:spPr bwMode="auto">
          <a:xfrm>
            <a:off x="3854689" y="4267242"/>
            <a:ext cx="447758" cy="393691"/>
          </a:xfrm>
          <a:custGeom>
            <a:avLst/>
            <a:gdLst/>
            <a:ahLst/>
            <a:cxnLst>
              <a:cxn ang="0">
                <a:pos x="82" y="72"/>
              </a:cxn>
              <a:cxn ang="0">
                <a:pos x="81" y="55"/>
              </a:cxn>
              <a:cxn ang="0">
                <a:pos x="70" y="49"/>
              </a:cxn>
              <a:cxn ang="0">
                <a:pos x="62" y="39"/>
              </a:cxn>
              <a:cxn ang="0">
                <a:pos x="65" y="32"/>
              </a:cxn>
              <a:cxn ang="0">
                <a:pos x="67" y="28"/>
              </a:cxn>
              <a:cxn ang="0">
                <a:pos x="66" y="25"/>
              </a:cxn>
              <a:cxn ang="0">
                <a:pos x="67" y="20"/>
              </a:cxn>
              <a:cxn ang="0">
                <a:pos x="57" y="11"/>
              </a:cxn>
              <a:cxn ang="0">
                <a:pos x="47" y="20"/>
              </a:cxn>
              <a:cxn ang="0">
                <a:pos x="48" y="25"/>
              </a:cxn>
              <a:cxn ang="0">
                <a:pos x="47" y="28"/>
              </a:cxn>
              <a:cxn ang="0">
                <a:pos x="49" y="32"/>
              </a:cxn>
              <a:cxn ang="0">
                <a:pos x="52" y="39"/>
              </a:cxn>
              <a:cxn ang="0">
                <a:pos x="48" y="46"/>
              </a:cxn>
              <a:cxn ang="0">
                <a:pos x="63" y="60"/>
              </a:cxn>
              <a:cxn ang="0">
                <a:pos x="63" y="72"/>
              </a:cxn>
              <a:cxn ang="0">
                <a:pos x="82" y="72"/>
              </a:cxn>
              <a:cxn ang="0">
                <a:pos x="42" y="51"/>
              </a:cxn>
              <a:cxn ang="0">
                <a:pos x="31" y="39"/>
              </a:cxn>
              <a:cxn ang="0">
                <a:pos x="35" y="29"/>
              </a:cxn>
              <a:cxn ang="0">
                <a:pos x="38" y="23"/>
              </a:cxn>
              <a:cxn ang="0">
                <a:pos x="37" y="20"/>
              </a:cxn>
              <a:cxn ang="0">
                <a:pos x="37" y="13"/>
              </a:cxn>
              <a:cxn ang="0">
                <a:pos x="24" y="0"/>
              </a:cxn>
              <a:cxn ang="0">
                <a:pos x="11" y="13"/>
              </a:cxn>
              <a:cxn ang="0">
                <a:pos x="12" y="20"/>
              </a:cxn>
              <a:cxn ang="0">
                <a:pos x="11" y="23"/>
              </a:cxn>
              <a:cxn ang="0">
                <a:pos x="14" y="29"/>
              </a:cxn>
              <a:cxn ang="0">
                <a:pos x="18" y="39"/>
              </a:cxn>
              <a:cxn ang="0">
                <a:pos x="7" y="51"/>
              </a:cxn>
              <a:cxn ang="0">
                <a:pos x="0" y="57"/>
              </a:cxn>
              <a:cxn ang="0">
                <a:pos x="0" y="72"/>
              </a:cxn>
              <a:cxn ang="0">
                <a:pos x="57" y="72"/>
              </a:cxn>
              <a:cxn ang="0">
                <a:pos x="57" y="61"/>
              </a:cxn>
              <a:cxn ang="0">
                <a:pos x="42" y="51"/>
              </a:cxn>
            </a:cxnLst>
            <a:rect l="0" t="0" r="r" b="b"/>
            <a:pathLst>
              <a:path w="82" h="72">
                <a:moveTo>
                  <a:pt x="82" y="72"/>
                </a:moveTo>
                <a:cubicBezTo>
                  <a:pt x="82" y="72"/>
                  <a:pt x="82" y="57"/>
                  <a:pt x="81" y="55"/>
                </a:cubicBezTo>
                <a:cubicBezTo>
                  <a:pt x="79" y="53"/>
                  <a:pt x="76" y="51"/>
                  <a:pt x="70" y="49"/>
                </a:cubicBezTo>
                <a:cubicBezTo>
                  <a:pt x="64" y="46"/>
                  <a:pt x="62" y="44"/>
                  <a:pt x="62" y="39"/>
                </a:cubicBezTo>
                <a:cubicBezTo>
                  <a:pt x="62" y="37"/>
                  <a:pt x="64" y="37"/>
                  <a:pt x="65" y="32"/>
                </a:cubicBezTo>
                <a:cubicBezTo>
                  <a:pt x="65" y="30"/>
                  <a:pt x="67" y="32"/>
                  <a:pt x="67" y="28"/>
                </a:cubicBezTo>
                <a:cubicBezTo>
                  <a:pt x="67" y="26"/>
                  <a:pt x="66" y="25"/>
                  <a:pt x="66" y="25"/>
                </a:cubicBezTo>
                <a:cubicBezTo>
                  <a:pt x="66" y="25"/>
                  <a:pt x="67" y="22"/>
                  <a:pt x="67" y="20"/>
                </a:cubicBezTo>
                <a:cubicBezTo>
                  <a:pt x="67" y="18"/>
                  <a:pt x="65" y="11"/>
                  <a:pt x="57" y="11"/>
                </a:cubicBezTo>
                <a:cubicBezTo>
                  <a:pt x="49" y="11"/>
                  <a:pt x="47" y="18"/>
                  <a:pt x="47" y="20"/>
                </a:cubicBezTo>
                <a:cubicBezTo>
                  <a:pt x="47" y="22"/>
                  <a:pt x="48" y="25"/>
                  <a:pt x="48" y="25"/>
                </a:cubicBezTo>
                <a:cubicBezTo>
                  <a:pt x="48" y="25"/>
                  <a:pt x="47" y="26"/>
                  <a:pt x="47" y="28"/>
                </a:cubicBezTo>
                <a:cubicBezTo>
                  <a:pt x="47" y="32"/>
                  <a:pt x="49" y="30"/>
                  <a:pt x="49" y="32"/>
                </a:cubicBezTo>
                <a:cubicBezTo>
                  <a:pt x="50" y="37"/>
                  <a:pt x="52" y="37"/>
                  <a:pt x="52" y="39"/>
                </a:cubicBezTo>
                <a:cubicBezTo>
                  <a:pt x="52" y="42"/>
                  <a:pt x="51" y="44"/>
                  <a:pt x="48" y="46"/>
                </a:cubicBezTo>
                <a:cubicBezTo>
                  <a:pt x="62" y="53"/>
                  <a:pt x="63" y="54"/>
                  <a:pt x="63" y="60"/>
                </a:cubicBezTo>
                <a:cubicBezTo>
                  <a:pt x="63" y="72"/>
                  <a:pt x="63" y="72"/>
                  <a:pt x="63" y="72"/>
                </a:cubicBezTo>
                <a:lnTo>
                  <a:pt x="82" y="72"/>
                </a:lnTo>
                <a:close/>
                <a:moveTo>
                  <a:pt x="42" y="51"/>
                </a:moveTo>
                <a:cubicBezTo>
                  <a:pt x="34" y="47"/>
                  <a:pt x="31" y="45"/>
                  <a:pt x="31" y="39"/>
                </a:cubicBezTo>
                <a:cubicBezTo>
                  <a:pt x="31" y="35"/>
                  <a:pt x="34" y="36"/>
                  <a:pt x="35" y="29"/>
                </a:cubicBezTo>
                <a:cubicBezTo>
                  <a:pt x="35" y="27"/>
                  <a:pt x="37" y="29"/>
                  <a:pt x="38" y="23"/>
                </a:cubicBezTo>
                <a:cubicBezTo>
                  <a:pt x="38" y="20"/>
                  <a:pt x="37" y="20"/>
                  <a:pt x="37" y="20"/>
                </a:cubicBezTo>
                <a:cubicBezTo>
                  <a:pt x="37" y="20"/>
                  <a:pt x="37" y="16"/>
                  <a:pt x="37" y="13"/>
                </a:cubicBezTo>
                <a:cubicBezTo>
                  <a:pt x="38" y="10"/>
                  <a:pt x="36" y="0"/>
                  <a:pt x="24" y="0"/>
                </a:cubicBezTo>
                <a:cubicBezTo>
                  <a:pt x="13" y="0"/>
                  <a:pt x="11" y="10"/>
                  <a:pt x="11" y="13"/>
                </a:cubicBezTo>
                <a:cubicBezTo>
                  <a:pt x="12" y="16"/>
                  <a:pt x="12" y="20"/>
                  <a:pt x="12" y="20"/>
                </a:cubicBezTo>
                <a:cubicBezTo>
                  <a:pt x="12" y="20"/>
                  <a:pt x="11" y="20"/>
                  <a:pt x="11" y="23"/>
                </a:cubicBezTo>
                <a:cubicBezTo>
                  <a:pt x="11" y="29"/>
                  <a:pt x="14" y="27"/>
                  <a:pt x="14" y="29"/>
                </a:cubicBezTo>
                <a:cubicBezTo>
                  <a:pt x="15" y="36"/>
                  <a:pt x="18" y="35"/>
                  <a:pt x="18" y="39"/>
                </a:cubicBezTo>
                <a:cubicBezTo>
                  <a:pt x="18" y="45"/>
                  <a:pt x="15" y="47"/>
                  <a:pt x="7" y="51"/>
                </a:cubicBezTo>
                <a:cubicBezTo>
                  <a:pt x="4" y="52"/>
                  <a:pt x="0" y="53"/>
                  <a:pt x="0" y="57"/>
                </a:cubicBezTo>
                <a:cubicBezTo>
                  <a:pt x="0" y="72"/>
                  <a:pt x="0" y="72"/>
                  <a:pt x="0" y="72"/>
                </a:cubicBezTo>
                <a:cubicBezTo>
                  <a:pt x="57" y="72"/>
                  <a:pt x="57" y="72"/>
                  <a:pt x="57" y="72"/>
                </a:cubicBezTo>
                <a:cubicBezTo>
                  <a:pt x="57" y="72"/>
                  <a:pt x="57" y="63"/>
                  <a:pt x="57" y="61"/>
                </a:cubicBezTo>
                <a:cubicBezTo>
                  <a:pt x="57" y="58"/>
                  <a:pt x="50" y="54"/>
                  <a:pt x="42" y="5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defTabSz="986912" fontAlgn="base">
              <a:spcBef>
                <a:spcPct val="0"/>
              </a:spcBef>
              <a:spcAft>
                <a:spcPct val="0"/>
              </a:spcAft>
            </a:pPr>
            <a:endParaRPr lang="en-GB" sz="205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9" name="Freeform 25"/>
          <p:cNvSpPr>
            <a:spLocks noChangeAspect="1" noEditPoints="1"/>
          </p:cNvSpPr>
          <p:nvPr/>
        </p:nvSpPr>
        <p:spPr bwMode="auto">
          <a:xfrm>
            <a:off x="10012394" y="4771146"/>
            <a:ext cx="447758" cy="393691"/>
          </a:xfrm>
          <a:custGeom>
            <a:avLst/>
            <a:gdLst/>
            <a:ahLst/>
            <a:cxnLst>
              <a:cxn ang="0">
                <a:pos x="82" y="72"/>
              </a:cxn>
              <a:cxn ang="0">
                <a:pos x="81" y="55"/>
              </a:cxn>
              <a:cxn ang="0">
                <a:pos x="70" y="49"/>
              </a:cxn>
              <a:cxn ang="0">
                <a:pos x="62" y="39"/>
              </a:cxn>
              <a:cxn ang="0">
                <a:pos x="65" y="32"/>
              </a:cxn>
              <a:cxn ang="0">
                <a:pos x="67" y="28"/>
              </a:cxn>
              <a:cxn ang="0">
                <a:pos x="66" y="25"/>
              </a:cxn>
              <a:cxn ang="0">
                <a:pos x="67" y="20"/>
              </a:cxn>
              <a:cxn ang="0">
                <a:pos x="57" y="11"/>
              </a:cxn>
              <a:cxn ang="0">
                <a:pos x="47" y="20"/>
              </a:cxn>
              <a:cxn ang="0">
                <a:pos x="48" y="25"/>
              </a:cxn>
              <a:cxn ang="0">
                <a:pos x="47" y="28"/>
              </a:cxn>
              <a:cxn ang="0">
                <a:pos x="49" y="32"/>
              </a:cxn>
              <a:cxn ang="0">
                <a:pos x="52" y="39"/>
              </a:cxn>
              <a:cxn ang="0">
                <a:pos x="48" y="46"/>
              </a:cxn>
              <a:cxn ang="0">
                <a:pos x="63" y="60"/>
              </a:cxn>
              <a:cxn ang="0">
                <a:pos x="63" y="72"/>
              </a:cxn>
              <a:cxn ang="0">
                <a:pos x="82" y="72"/>
              </a:cxn>
              <a:cxn ang="0">
                <a:pos x="42" y="51"/>
              </a:cxn>
              <a:cxn ang="0">
                <a:pos x="31" y="39"/>
              </a:cxn>
              <a:cxn ang="0">
                <a:pos x="35" y="29"/>
              </a:cxn>
              <a:cxn ang="0">
                <a:pos x="38" y="23"/>
              </a:cxn>
              <a:cxn ang="0">
                <a:pos x="37" y="20"/>
              </a:cxn>
              <a:cxn ang="0">
                <a:pos x="37" y="13"/>
              </a:cxn>
              <a:cxn ang="0">
                <a:pos x="24" y="0"/>
              </a:cxn>
              <a:cxn ang="0">
                <a:pos x="11" y="13"/>
              </a:cxn>
              <a:cxn ang="0">
                <a:pos x="12" y="20"/>
              </a:cxn>
              <a:cxn ang="0">
                <a:pos x="11" y="23"/>
              </a:cxn>
              <a:cxn ang="0">
                <a:pos x="14" y="29"/>
              </a:cxn>
              <a:cxn ang="0">
                <a:pos x="18" y="39"/>
              </a:cxn>
              <a:cxn ang="0">
                <a:pos x="7" y="51"/>
              </a:cxn>
              <a:cxn ang="0">
                <a:pos x="0" y="57"/>
              </a:cxn>
              <a:cxn ang="0">
                <a:pos x="0" y="72"/>
              </a:cxn>
              <a:cxn ang="0">
                <a:pos x="57" y="72"/>
              </a:cxn>
              <a:cxn ang="0">
                <a:pos x="57" y="61"/>
              </a:cxn>
              <a:cxn ang="0">
                <a:pos x="42" y="51"/>
              </a:cxn>
            </a:cxnLst>
            <a:rect l="0" t="0" r="r" b="b"/>
            <a:pathLst>
              <a:path w="82" h="72">
                <a:moveTo>
                  <a:pt x="82" y="72"/>
                </a:moveTo>
                <a:cubicBezTo>
                  <a:pt x="82" y="72"/>
                  <a:pt x="82" y="57"/>
                  <a:pt x="81" y="55"/>
                </a:cubicBezTo>
                <a:cubicBezTo>
                  <a:pt x="79" y="53"/>
                  <a:pt x="76" y="51"/>
                  <a:pt x="70" y="49"/>
                </a:cubicBezTo>
                <a:cubicBezTo>
                  <a:pt x="64" y="46"/>
                  <a:pt x="62" y="44"/>
                  <a:pt x="62" y="39"/>
                </a:cubicBezTo>
                <a:cubicBezTo>
                  <a:pt x="62" y="37"/>
                  <a:pt x="64" y="37"/>
                  <a:pt x="65" y="32"/>
                </a:cubicBezTo>
                <a:cubicBezTo>
                  <a:pt x="65" y="30"/>
                  <a:pt x="67" y="32"/>
                  <a:pt x="67" y="28"/>
                </a:cubicBezTo>
                <a:cubicBezTo>
                  <a:pt x="67" y="26"/>
                  <a:pt x="66" y="25"/>
                  <a:pt x="66" y="25"/>
                </a:cubicBezTo>
                <a:cubicBezTo>
                  <a:pt x="66" y="25"/>
                  <a:pt x="67" y="22"/>
                  <a:pt x="67" y="20"/>
                </a:cubicBezTo>
                <a:cubicBezTo>
                  <a:pt x="67" y="18"/>
                  <a:pt x="65" y="11"/>
                  <a:pt x="57" y="11"/>
                </a:cubicBezTo>
                <a:cubicBezTo>
                  <a:pt x="49" y="11"/>
                  <a:pt x="47" y="18"/>
                  <a:pt x="47" y="20"/>
                </a:cubicBezTo>
                <a:cubicBezTo>
                  <a:pt x="47" y="22"/>
                  <a:pt x="48" y="25"/>
                  <a:pt x="48" y="25"/>
                </a:cubicBezTo>
                <a:cubicBezTo>
                  <a:pt x="48" y="25"/>
                  <a:pt x="47" y="26"/>
                  <a:pt x="47" y="28"/>
                </a:cubicBezTo>
                <a:cubicBezTo>
                  <a:pt x="47" y="32"/>
                  <a:pt x="49" y="30"/>
                  <a:pt x="49" y="32"/>
                </a:cubicBezTo>
                <a:cubicBezTo>
                  <a:pt x="50" y="37"/>
                  <a:pt x="52" y="37"/>
                  <a:pt x="52" y="39"/>
                </a:cubicBezTo>
                <a:cubicBezTo>
                  <a:pt x="52" y="42"/>
                  <a:pt x="51" y="44"/>
                  <a:pt x="48" y="46"/>
                </a:cubicBezTo>
                <a:cubicBezTo>
                  <a:pt x="62" y="53"/>
                  <a:pt x="63" y="54"/>
                  <a:pt x="63" y="60"/>
                </a:cubicBezTo>
                <a:cubicBezTo>
                  <a:pt x="63" y="72"/>
                  <a:pt x="63" y="72"/>
                  <a:pt x="63" y="72"/>
                </a:cubicBezTo>
                <a:lnTo>
                  <a:pt x="82" y="72"/>
                </a:lnTo>
                <a:close/>
                <a:moveTo>
                  <a:pt x="42" y="51"/>
                </a:moveTo>
                <a:cubicBezTo>
                  <a:pt x="34" y="47"/>
                  <a:pt x="31" y="45"/>
                  <a:pt x="31" y="39"/>
                </a:cubicBezTo>
                <a:cubicBezTo>
                  <a:pt x="31" y="35"/>
                  <a:pt x="34" y="36"/>
                  <a:pt x="35" y="29"/>
                </a:cubicBezTo>
                <a:cubicBezTo>
                  <a:pt x="35" y="27"/>
                  <a:pt x="37" y="29"/>
                  <a:pt x="38" y="23"/>
                </a:cubicBezTo>
                <a:cubicBezTo>
                  <a:pt x="38" y="20"/>
                  <a:pt x="37" y="20"/>
                  <a:pt x="37" y="20"/>
                </a:cubicBezTo>
                <a:cubicBezTo>
                  <a:pt x="37" y="20"/>
                  <a:pt x="37" y="16"/>
                  <a:pt x="37" y="13"/>
                </a:cubicBezTo>
                <a:cubicBezTo>
                  <a:pt x="38" y="10"/>
                  <a:pt x="36" y="0"/>
                  <a:pt x="24" y="0"/>
                </a:cubicBezTo>
                <a:cubicBezTo>
                  <a:pt x="13" y="0"/>
                  <a:pt x="11" y="10"/>
                  <a:pt x="11" y="13"/>
                </a:cubicBezTo>
                <a:cubicBezTo>
                  <a:pt x="12" y="16"/>
                  <a:pt x="12" y="20"/>
                  <a:pt x="12" y="20"/>
                </a:cubicBezTo>
                <a:cubicBezTo>
                  <a:pt x="12" y="20"/>
                  <a:pt x="11" y="20"/>
                  <a:pt x="11" y="23"/>
                </a:cubicBezTo>
                <a:cubicBezTo>
                  <a:pt x="11" y="29"/>
                  <a:pt x="14" y="27"/>
                  <a:pt x="14" y="29"/>
                </a:cubicBezTo>
                <a:cubicBezTo>
                  <a:pt x="15" y="36"/>
                  <a:pt x="18" y="35"/>
                  <a:pt x="18" y="39"/>
                </a:cubicBezTo>
                <a:cubicBezTo>
                  <a:pt x="18" y="45"/>
                  <a:pt x="15" y="47"/>
                  <a:pt x="7" y="51"/>
                </a:cubicBezTo>
                <a:cubicBezTo>
                  <a:pt x="4" y="52"/>
                  <a:pt x="0" y="53"/>
                  <a:pt x="0" y="57"/>
                </a:cubicBezTo>
                <a:cubicBezTo>
                  <a:pt x="0" y="72"/>
                  <a:pt x="0" y="72"/>
                  <a:pt x="0" y="72"/>
                </a:cubicBezTo>
                <a:cubicBezTo>
                  <a:pt x="57" y="72"/>
                  <a:pt x="57" y="72"/>
                  <a:pt x="57" y="72"/>
                </a:cubicBezTo>
                <a:cubicBezTo>
                  <a:pt x="57" y="72"/>
                  <a:pt x="57" y="63"/>
                  <a:pt x="57" y="61"/>
                </a:cubicBezTo>
                <a:cubicBezTo>
                  <a:pt x="57" y="58"/>
                  <a:pt x="50" y="54"/>
                  <a:pt x="42" y="5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defTabSz="986912" fontAlgn="base">
              <a:spcBef>
                <a:spcPct val="0"/>
              </a:spcBef>
              <a:spcAft>
                <a:spcPct val="0"/>
              </a:spcAft>
            </a:pPr>
            <a:endParaRPr lang="en-GB" sz="205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9" name="Скругленный прямоугольник 68"/>
          <p:cNvSpPr/>
          <p:nvPr/>
        </p:nvSpPr>
        <p:spPr>
          <a:xfrm>
            <a:off x="9681321" y="4183948"/>
            <a:ext cx="372219" cy="174599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12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332773" y="3991997"/>
            <a:ext cx="2303065" cy="904187"/>
            <a:chOff x="332773" y="3991997"/>
            <a:chExt cx="2303065" cy="904187"/>
          </a:xfrm>
        </p:grpSpPr>
        <p:sp>
          <p:nvSpPr>
            <p:cNvPr id="20" name="Скругленный прямоугольник 19"/>
            <p:cNvSpPr/>
            <p:nvPr/>
          </p:nvSpPr>
          <p:spPr>
            <a:xfrm>
              <a:off x="464559" y="4092291"/>
              <a:ext cx="2171279" cy="727937"/>
            </a:xfrm>
            <a:prstGeom prst="roundRect">
              <a:avLst>
                <a:gd name="adj" fmla="val 6507"/>
              </a:avLst>
            </a:prstGeom>
            <a:solidFill>
              <a:srgbClr val="E7F5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630238"/>
              <a:r>
                <a:rPr lang="ru-RU" sz="1100" b="1" dirty="0" smtClean="0">
                  <a:solidFill>
                    <a:schemeClr val="tx1"/>
                  </a:solidFill>
                </a:rPr>
                <a:t>Банк-партнер</a:t>
              </a:r>
            </a:p>
            <a:p>
              <a:pPr marL="630238"/>
              <a:r>
                <a:rPr lang="ru-RU" sz="1000" dirty="0" smtClean="0">
                  <a:solidFill>
                    <a:schemeClr val="tx1"/>
                  </a:solidFill>
                </a:rPr>
                <a:t>(бенефициар по гарантии Корпорации)</a:t>
              </a:r>
              <a:endParaRPr lang="ru-RU" sz="1000" dirty="0">
                <a:solidFill>
                  <a:schemeClr val="tx1"/>
                </a:solidFill>
              </a:endParaRPr>
            </a:p>
          </p:txBody>
        </p:sp>
        <p:grpSp>
          <p:nvGrpSpPr>
            <p:cNvPr id="70" name="Группа 69"/>
            <p:cNvGrpSpPr/>
            <p:nvPr/>
          </p:nvGrpSpPr>
          <p:grpSpPr>
            <a:xfrm>
              <a:off x="332773" y="3991997"/>
              <a:ext cx="904187" cy="904187"/>
              <a:chOff x="-1167900" y="2055274"/>
              <a:chExt cx="2233307" cy="2233307"/>
            </a:xfrm>
          </p:grpSpPr>
          <p:pic>
            <p:nvPicPr>
              <p:cNvPr id="71" name="Рисунок 70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167900" y="2055274"/>
                <a:ext cx="2233307" cy="2233307"/>
              </a:xfrm>
              <a:prstGeom prst="rect">
                <a:avLst/>
              </a:prstGeom>
            </p:spPr>
          </p:pic>
          <p:sp>
            <p:nvSpPr>
              <p:cNvPr id="72" name="Овал 71"/>
              <p:cNvSpPr/>
              <p:nvPr/>
            </p:nvSpPr>
            <p:spPr>
              <a:xfrm>
                <a:off x="-388997" y="2868348"/>
                <a:ext cx="650389" cy="65038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800" dirty="0" smtClean="0"/>
                  <a:t>₽</a:t>
                </a:r>
                <a:endParaRPr lang="ru-RU" sz="1800" dirty="0"/>
              </a:p>
            </p:txBody>
          </p:sp>
        </p:grpSp>
      </p:grpSp>
      <p:grpSp>
        <p:nvGrpSpPr>
          <p:cNvPr id="73" name="Группа 72"/>
          <p:cNvGrpSpPr/>
          <p:nvPr/>
        </p:nvGrpSpPr>
        <p:grpSpPr>
          <a:xfrm>
            <a:off x="6491570" y="4515625"/>
            <a:ext cx="2303065" cy="904187"/>
            <a:chOff x="332773" y="3991997"/>
            <a:chExt cx="2303065" cy="904187"/>
          </a:xfrm>
        </p:grpSpPr>
        <p:sp>
          <p:nvSpPr>
            <p:cNvPr id="74" name="Скругленный прямоугольник 73"/>
            <p:cNvSpPr/>
            <p:nvPr/>
          </p:nvSpPr>
          <p:spPr>
            <a:xfrm>
              <a:off x="464559" y="4092291"/>
              <a:ext cx="2171279" cy="727937"/>
            </a:xfrm>
            <a:prstGeom prst="roundRect">
              <a:avLst>
                <a:gd name="adj" fmla="val 6507"/>
              </a:avLst>
            </a:prstGeom>
            <a:solidFill>
              <a:srgbClr val="E7F5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630238"/>
              <a:r>
                <a:rPr lang="ru-RU" sz="1100" b="1" dirty="0" smtClean="0">
                  <a:solidFill>
                    <a:schemeClr val="tx1"/>
                  </a:solidFill>
                </a:rPr>
                <a:t>Банк-партнер</a:t>
              </a:r>
            </a:p>
            <a:p>
              <a:pPr marL="630238"/>
              <a:r>
                <a:rPr lang="ru-RU" sz="1000" dirty="0" smtClean="0">
                  <a:solidFill>
                    <a:schemeClr val="tx1"/>
                  </a:solidFill>
                </a:rPr>
                <a:t>(бенефициар по гарантии Корпорации)</a:t>
              </a:r>
              <a:endParaRPr lang="ru-RU" sz="1000" dirty="0">
                <a:solidFill>
                  <a:schemeClr val="tx1"/>
                </a:solidFill>
              </a:endParaRPr>
            </a:p>
          </p:txBody>
        </p:sp>
        <p:grpSp>
          <p:nvGrpSpPr>
            <p:cNvPr id="75" name="Группа 74"/>
            <p:cNvGrpSpPr/>
            <p:nvPr/>
          </p:nvGrpSpPr>
          <p:grpSpPr>
            <a:xfrm>
              <a:off x="332773" y="3991997"/>
              <a:ext cx="904187" cy="904187"/>
              <a:chOff x="-1167900" y="2055274"/>
              <a:chExt cx="2233307" cy="2233307"/>
            </a:xfrm>
          </p:grpSpPr>
          <p:pic>
            <p:nvPicPr>
              <p:cNvPr id="76" name="Рисунок 75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167900" y="2055274"/>
                <a:ext cx="2233307" cy="2233307"/>
              </a:xfrm>
              <a:prstGeom prst="rect">
                <a:avLst/>
              </a:prstGeom>
            </p:spPr>
          </p:pic>
          <p:sp>
            <p:nvSpPr>
              <p:cNvPr id="77" name="Овал 76"/>
              <p:cNvSpPr/>
              <p:nvPr/>
            </p:nvSpPr>
            <p:spPr>
              <a:xfrm>
                <a:off x="-388997" y="2868348"/>
                <a:ext cx="650389" cy="65038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800" dirty="0" smtClean="0"/>
                  <a:t>₽</a:t>
                </a:r>
                <a:endParaRPr lang="ru-RU" sz="1800" dirty="0"/>
              </a:p>
            </p:txBody>
          </p:sp>
        </p:grpSp>
      </p:grpSp>
      <p:pic>
        <p:nvPicPr>
          <p:cNvPr id="81" name="Рисунок 8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8231" y="3757346"/>
            <a:ext cx="433001" cy="414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688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4868" y="152402"/>
            <a:ext cx="8429835" cy="698685"/>
          </a:xfrm>
        </p:spPr>
        <p:txBody>
          <a:bodyPr/>
          <a:lstStyle/>
          <a:p>
            <a:r>
              <a:rPr lang="ru-RU" dirty="0"/>
              <a:t>Преимущества независимой гарантии Корпорации для субъекта </a:t>
            </a:r>
            <a:r>
              <a:rPr lang="ru-RU" dirty="0" smtClean="0"/>
              <a:t>МСП</a:t>
            </a:r>
            <a:endParaRPr lang="ru-RU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363539" y="2023381"/>
            <a:ext cx="2655431" cy="636251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>
                <a:solidFill>
                  <a:srgbClr val="1F4E79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озможность развития своего бизнеса</a:t>
            </a:r>
          </a:p>
        </p:txBody>
      </p:sp>
      <p:sp>
        <p:nvSpPr>
          <p:cNvPr id="25" name="L-Shape 10"/>
          <p:cNvSpPr/>
          <p:nvPr/>
        </p:nvSpPr>
        <p:spPr>
          <a:xfrm rot="13701821">
            <a:off x="2921910" y="2127499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26" name="Прямоугольник 25"/>
          <p:cNvSpPr/>
          <p:nvPr/>
        </p:nvSpPr>
        <p:spPr>
          <a:xfrm>
            <a:off x="363539" y="2910558"/>
            <a:ext cx="2655431" cy="59691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>
                <a:solidFill>
                  <a:srgbClr val="1F4E79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озможность снижения своих расходов</a:t>
            </a:r>
          </a:p>
        </p:txBody>
      </p:sp>
      <p:sp>
        <p:nvSpPr>
          <p:cNvPr id="27" name="L-Shape 10"/>
          <p:cNvSpPr/>
          <p:nvPr/>
        </p:nvSpPr>
        <p:spPr>
          <a:xfrm rot="13701821">
            <a:off x="2921910" y="2995009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28" name="Прямоугольник 27"/>
          <p:cNvSpPr/>
          <p:nvPr/>
        </p:nvSpPr>
        <p:spPr>
          <a:xfrm>
            <a:off x="3613533" y="2871776"/>
            <a:ext cx="8641170" cy="67448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ониженные процентные ставки по кредитам с гарантией Корпорации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Стоимость гарантии Корпорации в разы ниже стоимости страхования залога ТС (КАСКО)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Стоимость гарантии Корпорации включает в себя НДС, который может быть принят к зачету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3613533" y="2004266"/>
            <a:ext cx="8641170" cy="67448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Возможность получения финансирования и развития своего бизнеса при отсутствии залогового обеспечения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363539" y="4626905"/>
            <a:ext cx="2655431" cy="64693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Широкая </a:t>
            </a:r>
            <a:r>
              <a:rPr lang="ru-RU" sz="1600" b="1" kern="0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линейка гарантийных продуктов</a:t>
            </a:r>
          </a:p>
        </p:txBody>
      </p:sp>
      <p:sp>
        <p:nvSpPr>
          <p:cNvPr id="31" name="L-Shape 10"/>
          <p:cNvSpPr/>
          <p:nvPr/>
        </p:nvSpPr>
        <p:spPr>
          <a:xfrm rot="13701821">
            <a:off x="2921910" y="4736363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32" name="Прямоугольник 31"/>
          <p:cNvSpPr/>
          <p:nvPr/>
        </p:nvSpPr>
        <p:spPr>
          <a:xfrm>
            <a:off x="3613533" y="4613130"/>
            <a:ext cx="8641170" cy="67448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Линейка гарантийных продуктов учитывает практически все основные потребности субъектов МСП в гарантийной поддержке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363539" y="5425404"/>
            <a:ext cx="2655431" cy="1106269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Условия продуктов </a:t>
            </a:r>
            <a:endParaRPr lang="ru-RU" sz="1600" b="1" kern="0" dirty="0">
              <a:solidFill>
                <a:srgbClr val="0070C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максимально адаптированы </a:t>
            </a:r>
            <a:r>
              <a:rPr lang="ru-RU" sz="1600" b="1" kern="0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к специфике субъектов </a:t>
            </a: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МСП</a:t>
            </a:r>
            <a:endParaRPr lang="ru-RU" sz="1600" b="1" kern="0" dirty="0">
              <a:solidFill>
                <a:srgbClr val="0070C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</p:txBody>
      </p:sp>
      <p:sp>
        <p:nvSpPr>
          <p:cNvPr id="34" name="L-Shape 10"/>
          <p:cNvSpPr/>
          <p:nvPr/>
        </p:nvSpPr>
        <p:spPr>
          <a:xfrm rot="13701821">
            <a:off x="2921910" y="5733842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35" name="Прямоугольник 34"/>
          <p:cNvSpPr/>
          <p:nvPr/>
        </p:nvSpPr>
        <p:spPr>
          <a:xfrm>
            <a:off x="3613533" y="5364024"/>
            <a:ext cx="8641170" cy="1167650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Отсутствуют специальные </a:t>
            </a:r>
            <a:r>
              <a:rPr lang="ru-RU" sz="1200" dirty="0">
                <a:latin typeface="+mj-lt"/>
                <a:cs typeface="+mn-cs"/>
              </a:rPr>
              <a:t>требования к обеспечению по кредитным </a:t>
            </a:r>
            <a:r>
              <a:rPr lang="ru-RU" sz="1200" dirty="0" smtClean="0">
                <a:latin typeface="+mj-lt"/>
                <a:cs typeface="+mn-cs"/>
              </a:rPr>
              <a:t>сделкам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Отсутствует необходимость </a:t>
            </a:r>
            <a:r>
              <a:rPr lang="ru-RU" sz="1200" dirty="0">
                <a:latin typeface="+mj-lt"/>
                <a:cs typeface="+mn-cs"/>
              </a:rPr>
              <a:t>предоставления обеспечения по </a:t>
            </a:r>
            <a:r>
              <a:rPr lang="ru-RU" sz="1200" dirty="0" smtClean="0">
                <a:latin typeface="+mj-lt"/>
                <a:cs typeface="+mn-cs"/>
              </a:rPr>
              <a:t>гарантиям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Стоимость гарантий </a:t>
            </a:r>
            <a:r>
              <a:rPr lang="ru-RU" sz="1200" dirty="0">
                <a:latin typeface="+mj-lt"/>
                <a:cs typeface="+mn-cs"/>
              </a:rPr>
              <a:t>на порядок ниже стоимости банковских гарантий у </a:t>
            </a:r>
            <a:r>
              <a:rPr lang="ru-RU" sz="1200" dirty="0" smtClean="0">
                <a:latin typeface="+mj-lt"/>
                <a:cs typeface="+mn-cs"/>
              </a:rPr>
              <a:t>банков-партнеров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Возможность рассрочки </a:t>
            </a:r>
            <a:r>
              <a:rPr lang="ru-RU" sz="1200" dirty="0">
                <a:latin typeface="+mj-lt"/>
                <a:cs typeface="+mn-cs"/>
              </a:rPr>
              <a:t>уплаты вознаграждения Корпорации в течение всего срока действия </a:t>
            </a:r>
            <a:r>
              <a:rPr lang="ru-RU" sz="1200" dirty="0" smtClean="0">
                <a:latin typeface="+mj-lt"/>
                <a:cs typeface="+mn-cs"/>
              </a:rPr>
              <a:t>гарантии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Возможность получения </a:t>
            </a:r>
            <a:r>
              <a:rPr lang="ru-RU" sz="1200" dirty="0">
                <a:latin typeface="+mj-lt"/>
                <a:cs typeface="+mn-cs"/>
              </a:rPr>
              <a:t>гарантии как по новым, так и по ранее заключенным кредитным </a:t>
            </a:r>
            <a:r>
              <a:rPr lang="ru-RU" sz="1200" dirty="0" smtClean="0">
                <a:latin typeface="+mj-lt"/>
                <a:cs typeface="+mn-cs"/>
              </a:rPr>
              <a:t>договорам</a:t>
            </a:r>
            <a:endParaRPr lang="ru-RU" sz="1200" dirty="0">
              <a:latin typeface="+mj-lt"/>
              <a:cs typeface="+mn-cs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363539" y="6953803"/>
            <a:ext cx="2655431" cy="636251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Простые технологии предоставления гарантий</a:t>
            </a:r>
          </a:p>
        </p:txBody>
      </p:sp>
      <p:sp>
        <p:nvSpPr>
          <p:cNvPr id="37" name="L-Shape 10"/>
          <p:cNvSpPr/>
          <p:nvPr/>
        </p:nvSpPr>
        <p:spPr>
          <a:xfrm rot="13701821">
            <a:off x="2921910" y="7057921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38" name="Прямоугольник 37"/>
          <p:cNvSpPr/>
          <p:nvPr/>
        </p:nvSpPr>
        <p:spPr>
          <a:xfrm>
            <a:off x="3613533" y="6730063"/>
            <a:ext cx="8641170" cy="1083730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Все взаимодействие </a:t>
            </a:r>
            <a:r>
              <a:rPr lang="ru-RU" sz="1200" dirty="0">
                <a:latin typeface="+mj-lt"/>
                <a:cs typeface="+mn-cs"/>
              </a:rPr>
              <a:t>с Корпорацией по вопросу получения гарантии осуществляет банк-партнер;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Банк-партнер самостоятельно </a:t>
            </a:r>
            <a:r>
              <a:rPr lang="ru-RU" sz="1200" dirty="0">
                <a:latin typeface="+mj-lt"/>
                <a:cs typeface="+mn-cs"/>
              </a:rPr>
              <a:t>соберет и направит в Корпорацию все необходимые документы для получения гарантии;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Быстрое принятие </a:t>
            </a:r>
            <a:r>
              <a:rPr lang="ru-RU" sz="1200" dirty="0">
                <a:latin typeface="+mj-lt"/>
                <a:cs typeface="+mn-cs"/>
              </a:rPr>
              <a:t>решения о предоставлении гарантии (до 10 рабочих дней после предоставления в Корпорацию полного пакета документов).</a:t>
            </a:r>
          </a:p>
        </p:txBody>
      </p:sp>
      <p:grpSp>
        <p:nvGrpSpPr>
          <p:cNvPr id="39" name="Группа 38"/>
          <p:cNvGrpSpPr/>
          <p:nvPr/>
        </p:nvGrpSpPr>
        <p:grpSpPr>
          <a:xfrm>
            <a:off x="363539" y="3600797"/>
            <a:ext cx="11891164" cy="772552"/>
            <a:chOff x="363539" y="1165786"/>
            <a:chExt cx="5819547" cy="772552"/>
          </a:xfrm>
        </p:grpSpPr>
        <p:sp>
          <p:nvSpPr>
            <p:cNvPr id="40" name="Текст 2"/>
            <p:cNvSpPr txBox="1">
              <a:spLocks/>
            </p:cNvSpPr>
            <p:nvPr/>
          </p:nvSpPr>
          <p:spPr>
            <a:xfrm>
              <a:off x="363539" y="1165786"/>
              <a:ext cx="5819547" cy="725733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2pPr>
              <a:lvl3pPr marL="24296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3pPr>
              <a:lvl4pPr marL="47643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4pPr>
              <a:lvl5pPr marL="719391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5pPr>
              <a:lvl6pPr marL="1495728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6pPr>
              <a:lvl7pPr marL="2042391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7pPr>
              <a:lvl8pPr marL="258905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8pPr>
              <a:lvl9pPr marL="313571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b="1" kern="0" dirty="0" smtClean="0"/>
                <a:t>Что предлагает Корпорация своим клиентам</a:t>
              </a:r>
              <a:endParaRPr lang="ru-RU" b="1" kern="0" dirty="0"/>
            </a:p>
          </p:txBody>
        </p:sp>
        <p:cxnSp>
          <p:nvCxnSpPr>
            <p:cNvPr id="41" name="Прямая соединительная линия 40"/>
            <p:cNvCxnSpPr/>
            <p:nvPr/>
          </p:nvCxnSpPr>
          <p:spPr>
            <a:xfrm>
              <a:off x="363539" y="1938338"/>
              <a:ext cx="581954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Группа 41"/>
          <p:cNvGrpSpPr/>
          <p:nvPr/>
        </p:nvGrpSpPr>
        <p:grpSpPr>
          <a:xfrm>
            <a:off x="363539" y="1048107"/>
            <a:ext cx="11891164" cy="772552"/>
            <a:chOff x="363539" y="1165786"/>
            <a:chExt cx="5819547" cy="772552"/>
          </a:xfrm>
        </p:grpSpPr>
        <p:sp>
          <p:nvSpPr>
            <p:cNvPr id="43" name="Текст 2"/>
            <p:cNvSpPr txBox="1">
              <a:spLocks/>
            </p:cNvSpPr>
            <p:nvPr/>
          </p:nvSpPr>
          <p:spPr>
            <a:xfrm>
              <a:off x="363539" y="1165786"/>
              <a:ext cx="5819547" cy="725733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2pPr>
              <a:lvl3pPr marL="24296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3pPr>
              <a:lvl4pPr marL="47643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4pPr>
              <a:lvl5pPr marL="719391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5pPr>
              <a:lvl6pPr marL="1495728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6pPr>
              <a:lvl7pPr marL="2042391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7pPr>
              <a:lvl8pPr marL="258905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8pPr>
              <a:lvl9pPr marL="313571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b="1" kern="0" dirty="0" smtClean="0"/>
                <a:t>Какие возможности получают субъекты МСП</a:t>
              </a:r>
              <a:endParaRPr lang="ru-RU" b="1" kern="0" dirty="0"/>
            </a:p>
          </p:txBody>
        </p:sp>
        <p:cxnSp>
          <p:nvCxnSpPr>
            <p:cNvPr id="44" name="Прямая соединительная линия 43"/>
            <p:cNvCxnSpPr/>
            <p:nvPr/>
          </p:nvCxnSpPr>
          <p:spPr>
            <a:xfrm>
              <a:off x="363539" y="1938338"/>
              <a:ext cx="581954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71907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Скругленный прямоугольник 123"/>
          <p:cNvSpPr/>
          <p:nvPr/>
        </p:nvSpPr>
        <p:spPr>
          <a:xfrm>
            <a:off x="8758783" y="1679426"/>
            <a:ext cx="3495920" cy="6132388"/>
          </a:xfrm>
          <a:prstGeom prst="roundRect">
            <a:avLst>
              <a:gd name="adj" fmla="val 2995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68110" y="152402"/>
            <a:ext cx="8586593" cy="698685"/>
          </a:xfrm>
        </p:spPr>
        <p:txBody>
          <a:bodyPr/>
          <a:lstStyle/>
          <a:p>
            <a:r>
              <a:rPr lang="ru-RU" dirty="0" smtClean="0"/>
              <a:t>Продуктовая гарантийная линейка Корпорации</a:t>
            </a: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678729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 smtClean="0"/>
              <a:t>Продукты</a:t>
            </a:r>
            <a:endParaRPr lang="ru-RU" b="1" dirty="0"/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63538" y="1453370"/>
            <a:ext cx="79921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3668110" y="1730422"/>
            <a:ext cx="4687613" cy="668303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Прямая гарантия для инвестиций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Прямая гарантия для обеспечения кредитов для неторгового сектора с целью пополнения оборотных средств</a:t>
            </a:r>
            <a:endParaRPr lang="ru-RU" sz="1200" dirty="0">
              <a:latin typeface="+mj-lt"/>
              <a:cs typeface="+mn-cs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370506" y="1708180"/>
            <a:ext cx="3203011" cy="71598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 smtClean="0">
                <a:latin typeface="+mj-lt"/>
              </a:rPr>
              <a:t>Основные</a:t>
            </a:r>
            <a:r>
              <a:rPr lang="ru-RU" sz="1200" kern="0" dirty="0" smtClean="0">
                <a:latin typeface="+mj-lt"/>
              </a:rPr>
              <a:t> продукты </a:t>
            </a: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(для всех субъектов МСП)</a:t>
            </a:r>
            <a:endParaRPr lang="ru-RU" sz="1200" kern="0" dirty="0">
              <a:latin typeface="+mj-lt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668110" y="2604032"/>
            <a:ext cx="4687613" cy="80864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гарантии исполнения контракта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кредитов на исполнение контрактов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70506" y="2566652"/>
            <a:ext cx="3203011" cy="866338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участников </a:t>
            </a:r>
            <a:r>
              <a:rPr lang="ru-RU" sz="1200" b="1" kern="0" dirty="0" smtClean="0">
                <a:latin typeface="+mj-lt"/>
              </a:rPr>
              <a:t>государственных </a:t>
            </a:r>
            <a:r>
              <a:rPr lang="ru-RU" sz="1200" kern="0" dirty="0" smtClean="0">
                <a:latin typeface="+mj-lt"/>
              </a:rPr>
              <a:t>и</a:t>
            </a:r>
            <a:r>
              <a:rPr lang="ru-RU" sz="1200" b="1" kern="0" dirty="0" smtClean="0">
                <a:latin typeface="+mj-lt"/>
              </a:rPr>
              <a:t> муниципальных закупок </a:t>
            </a:r>
            <a:r>
              <a:rPr lang="ru-RU" sz="1200" kern="0" dirty="0" smtClean="0">
                <a:latin typeface="+mj-lt"/>
              </a:rPr>
              <a:t>(44-ФЗ и 223-ФЗ)</a:t>
            </a:r>
            <a:endParaRPr lang="ru-RU" sz="1200" kern="0" dirty="0">
              <a:latin typeface="+mj-lt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668110" y="3617985"/>
            <a:ext cx="4687613" cy="88951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застройщик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финансирования индустриальных парк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кредитов для неторгового сектора с целью пополнения оборотных средств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370506" y="3575480"/>
            <a:ext cx="3203011" cy="95297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</a:t>
            </a:r>
            <a:r>
              <a:rPr lang="ru-RU" sz="1200" b="1" kern="0" dirty="0" smtClean="0">
                <a:latin typeface="+mj-lt"/>
              </a:rPr>
              <a:t>застройщиков</a:t>
            </a:r>
            <a:r>
              <a:rPr lang="ru-RU" sz="1200" kern="0" dirty="0" smtClean="0">
                <a:latin typeface="+mj-lt"/>
              </a:rPr>
              <a:t> и компаний, осуществляющих создание </a:t>
            </a:r>
            <a:r>
              <a:rPr lang="ru-RU" sz="1200" b="1" kern="0" dirty="0" smtClean="0">
                <a:latin typeface="+mj-lt"/>
              </a:rPr>
              <a:t>индустриальных парков</a:t>
            </a:r>
            <a:endParaRPr lang="ru-RU" sz="1200" b="1" kern="0" dirty="0">
              <a:latin typeface="+mj-lt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3668110" y="4712803"/>
            <a:ext cx="4687613" cy="88951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выданных кредит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</a:t>
            </a:r>
            <a:r>
              <a:rPr lang="ru-RU" sz="1200" dirty="0" err="1">
                <a:latin typeface="+mj-lt"/>
                <a:cs typeface="+mn-cs"/>
              </a:rPr>
              <a:t>реструктуриемых</a:t>
            </a:r>
            <a:r>
              <a:rPr lang="ru-RU" sz="1200" dirty="0" smtClean="0">
                <a:latin typeface="+mj-lt"/>
                <a:cs typeface="+mn-cs"/>
              </a:rPr>
              <a:t>/ рефинансируемых </a:t>
            </a:r>
            <a:r>
              <a:rPr lang="ru-RU" sz="1200" dirty="0">
                <a:latin typeface="+mj-lt"/>
                <a:cs typeface="+mn-cs"/>
              </a:rPr>
              <a:t>кредитов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370506" y="4670942"/>
            <a:ext cx="3203011" cy="95297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субъектов МСП, которым требуется </a:t>
            </a:r>
            <a:r>
              <a:rPr lang="ru-RU" sz="1200" b="1" kern="0" dirty="0" smtClean="0">
                <a:latin typeface="+mj-lt"/>
              </a:rPr>
              <a:t>изменить условия </a:t>
            </a:r>
            <a:r>
              <a:rPr lang="ru-RU" sz="1200" kern="0" dirty="0" smtClean="0">
                <a:latin typeface="+mj-lt"/>
              </a:rPr>
              <a:t>по</a:t>
            </a:r>
            <a:r>
              <a:rPr lang="ru-RU" sz="1200" b="1" kern="0" dirty="0" smtClean="0">
                <a:latin typeface="+mj-lt"/>
              </a:rPr>
              <a:t> </a:t>
            </a:r>
            <a:r>
              <a:rPr lang="ru-RU" sz="1200" kern="0" dirty="0" smtClean="0">
                <a:latin typeface="+mj-lt"/>
              </a:rPr>
              <a:t>действующим</a:t>
            </a:r>
            <a:r>
              <a:rPr lang="ru-RU" sz="1200" b="1" kern="0" dirty="0" smtClean="0">
                <a:latin typeface="+mj-lt"/>
              </a:rPr>
              <a:t> кредитным договорам</a:t>
            </a:r>
            <a:endParaRPr lang="ru-RU" sz="1200" b="1" kern="0" dirty="0">
              <a:latin typeface="+mj-lt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3668110" y="5807621"/>
            <a:ext cx="4687613" cy="1076308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выданных кредит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</a:t>
            </a:r>
            <a:r>
              <a:rPr lang="ru-RU" sz="1200" dirty="0" err="1">
                <a:latin typeface="+mj-lt"/>
                <a:cs typeface="+mn-cs"/>
              </a:rPr>
              <a:t>реструктуриемых</a:t>
            </a:r>
            <a:r>
              <a:rPr lang="ru-RU" sz="1200" dirty="0" smtClean="0">
                <a:latin typeface="+mj-lt"/>
                <a:cs typeface="+mn-cs"/>
              </a:rPr>
              <a:t>/ рефинансируемых </a:t>
            </a:r>
            <a:r>
              <a:rPr lang="ru-RU" sz="1200" dirty="0">
                <a:latin typeface="+mj-lt"/>
                <a:cs typeface="+mn-cs"/>
              </a:rPr>
              <a:t>кредитов</a:t>
            </a:r>
          </a:p>
        </p:txBody>
      </p:sp>
      <p:sp>
        <p:nvSpPr>
          <p:cNvPr id="72" name="Скругленный прямоугольник 71"/>
          <p:cNvSpPr/>
          <p:nvPr/>
        </p:nvSpPr>
        <p:spPr>
          <a:xfrm>
            <a:off x="370506" y="5766404"/>
            <a:ext cx="3203011" cy="1153096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субъектов МСП, </a:t>
            </a:r>
            <a:r>
              <a:rPr lang="ru-RU" sz="1200" b="1" kern="0" dirty="0" smtClean="0">
                <a:latin typeface="+mj-lt"/>
              </a:rPr>
              <a:t>зарегистрированных</a:t>
            </a:r>
            <a:r>
              <a:rPr lang="ru-RU" sz="1200" kern="0" dirty="0" smtClean="0">
                <a:latin typeface="+mj-lt"/>
              </a:rPr>
              <a:t> на территории республики </a:t>
            </a:r>
            <a:r>
              <a:rPr lang="ru-RU" sz="1200" b="1" kern="0" dirty="0" smtClean="0">
                <a:latin typeface="+mj-lt"/>
              </a:rPr>
              <a:t>Крым</a:t>
            </a:r>
            <a:r>
              <a:rPr lang="ru-RU" sz="1200" kern="0" dirty="0" smtClean="0">
                <a:latin typeface="+mj-lt"/>
              </a:rPr>
              <a:t> и/или городе федерального значения </a:t>
            </a:r>
            <a:r>
              <a:rPr lang="ru-RU" sz="1200" b="1" kern="0" dirty="0" smtClean="0">
                <a:latin typeface="+mj-lt"/>
              </a:rPr>
              <a:t>Севастополь</a:t>
            </a:r>
            <a:endParaRPr lang="ru-RU" sz="1200" b="1" kern="0" dirty="0">
              <a:latin typeface="+mj-lt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3668110" y="7089236"/>
            <a:ext cx="4687613" cy="80864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err="1">
                <a:latin typeface="+mj-lt"/>
                <a:cs typeface="+mn-cs"/>
              </a:rPr>
              <a:t>Контргарантия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Синдицированная гарантия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, выдаваемая совместно с поручительством </a:t>
            </a:r>
            <a:r>
              <a:rPr lang="ru-RU" sz="1200" dirty="0" smtClean="0">
                <a:latin typeface="+mj-lt"/>
                <a:cs typeface="+mn-cs"/>
              </a:rPr>
              <a:t>РГО (</a:t>
            </a:r>
            <a:r>
              <a:rPr lang="ru-RU" sz="1200" dirty="0" err="1">
                <a:latin typeface="+mj-lt"/>
                <a:cs typeface="+mn-cs"/>
              </a:rPr>
              <a:t>согарантия</a:t>
            </a:r>
            <a:r>
              <a:rPr lang="ru-RU" sz="1200" dirty="0">
                <a:latin typeface="+mj-lt"/>
                <a:cs typeface="+mn-cs"/>
              </a:rPr>
              <a:t>)</a:t>
            </a:r>
          </a:p>
        </p:txBody>
      </p:sp>
      <p:sp>
        <p:nvSpPr>
          <p:cNvPr id="74" name="Скругленный прямоугольник 73"/>
          <p:cNvSpPr/>
          <p:nvPr/>
        </p:nvSpPr>
        <p:spPr>
          <a:xfrm>
            <a:off x="370506" y="7061989"/>
            <a:ext cx="3203011" cy="866338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с участием </a:t>
            </a:r>
            <a:r>
              <a:rPr lang="ru-RU" sz="1200" b="1" kern="0" dirty="0" smtClean="0">
                <a:latin typeface="+mj-lt"/>
              </a:rPr>
              <a:t>региональных гарантийных организаций </a:t>
            </a:r>
            <a:r>
              <a:rPr lang="ru-RU" sz="1200" kern="0" dirty="0" smtClean="0">
                <a:latin typeface="+mj-lt"/>
              </a:rPr>
              <a:t>(РГО)</a:t>
            </a:r>
            <a:endParaRPr lang="ru-RU" sz="1200" kern="0" dirty="0">
              <a:latin typeface="+mj-lt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12117668" y="10973081"/>
            <a:ext cx="5112568" cy="820786"/>
          </a:xfrm>
          <a:prstGeom prst="rect">
            <a:avLst/>
          </a:prstGeom>
          <a:noFill/>
        </p:spPr>
      </p:sp>
      <p:sp>
        <p:nvSpPr>
          <p:cNvPr id="70" name="TextBox 69"/>
          <p:cNvSpPr txBox="1"/>
          <p:nvPr/>
        </p:nvSpPr>
        <p:spPr>
          <a:xfrm>
            <a:off x="9452775" y="7241387"/>
            <a:ext cx="2801927" cy="50434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solidFill>
                  <a:srgbClr val="1F4E79"/>
                </a:solidFill>
                <a:latin typeface="Arial Narrow" panose="020B0606020202030204" pitchFamily="34" charset="0"/>
              </a:rPr>
              <a:t>Более подробно условия гарантийных на официальном сайте Корпорации</a:t>
            </a:r>
          </a:p>
        </p:txBody>
      </p:sp>
      <p:sp>
        <p:nvSpPr>
          <p:cNvPr id="75" name="Текст 2"/>
          <p:cNvSpPr txBox="1">
            <a:spLocks/>
          </p:cNvSpPr>
          <p:nvPr/>
        </p:nvSpPr>
        <p:spPr>
          <a:xfrm>
            <a:off x="8758783" y="678729"/>
            <a:ext cx="3896694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 smtClean="0"/>
              <a:t>Условия</a:t>
            </a:r>
            <a:endParaRPr lang="ru-RU" b="1" kern="0" dirty="0"/>
          </a:p>
        </p:txBody>
      </p:sp>
      <p:cxnSp>
        <p:nvCxnSpPr>
          <p:cNvPr id="76" name="Прямая соединительная линия 75"/>
          <p:cNvCxnSpPr/>
          <p:nvPr/>
        </p:nvCxnSpPr>
        <p:spPr>
          <a:xfrm>
            <a:off x="8751814" y="1453370"/>
            <a:ext cx="350288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Прямоугольник 76"/>
          <p:cNvSpPr/>
          <p:nvPr/>
        </p:nvSpPr>
        <p:spPr>
          <a:xfrm>
            <a:off x="8758783" y="1983375"/>
            <a:ext cx="1492693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рок гарантии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10251476" y="1980956"/>
            <a:ext cx="2003227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до 15 лет </a:t>
            </a:r>
            <a:endParaRPr lang="ru-RU" sz="1600" kern="0" dirty="0" smtClean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зависимости от условий конкретного </a:t>
            </a: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продукта</a:t>
            </a: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</p:txBody>
      </p:sp>
      <p:cxnSp>
        <p:nvCxnSpPr>
          <p:cNvPr id="79" name="Прямая соединительная линия 78"/>
          <p:cNvCxnSpPr/>
          <p:nvPr/>
        </p:nvCxnSpPr>
        <p:spPr>
          <a:xfrm>
            <a:off x="10251476" y="1866310"/>
            <a:ext cx="0" cy="668303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Прямоугольник 108"/>
          <p:cNvSpPr/>
          <p:nvPr/>
        </p:nvSpPr>
        <p:spPr>
          <a:xfrm>
            <a:off x="8758783" y="2645295"/>
            <a:ext cx="1492693" cy="78469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ознаграждение за гарантию</a:t>
            </a:r>
          </a:p>
        </p:txBody>
      </p:sp>
      <p:sp>
        <p:nvSpPr>
          <p:cNvPr id="110" name="Прямоугольник 109"/>
          <p:cNvSpPr/>
          <p:nvPr/>
        </p:nvSpPr>
        <p:spPr>
          <a:xfrm>
            <a:off x="10251476" y="2640581"/>
            <a:ext cx="2003227" cy="78469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1,25%</a:t>
            </a:r>
            <a:r>
              <a:rPr lang="ru-RU" sz="11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 </a:t>
            </a: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годовых</a:t>
            </a:r>
            <a:r>
              <a:rPr lang="ru-RU" sz="11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 </a:t>
            </a:r>
            <a:endParaRPr lang="ru-RU" sz="1100" kern="0" dirty="0" smtClean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от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уммы гарантии за весь срок действия гарантии</a:t>
            </a:r>
          </a:p>
        </p:txBody>
      </p:sp>
      <p:cxnSp>
        <p:nvCxnSpPr>
          <p:cNvPr id="111" name="Прямая соединительная линия 110"/>
          <p:cNvCxnSpPr/>
          <p:nvPr/>
        </p:nvCxnSpPr>
        <p:spPr>
          <a:xfrm>
            <a:off x="10251476" y="2640581"/>
            <a:ext cx="0" cy="784690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Прямоугольник 112"/>
          <p:cNvSpPr/>
          <p:nvPr/>
        </p:nvSpPr>
        <p:spPr>
          <a:xfrm>
            <a:off x="8758783" y="3688063"/>
            <a:ext cx="1492693" cy="58954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Порядок уплаты вознаграждения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10251476" y="3684521"/>
            <a:ext cx="2003227" cy="58954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Единовременно / ежегодно / 1 раз в полгода / ежеквартально</a:t>
            </a:r>
          </a:p>
        </p:txBody>
      </p:sp>
      <p:cxnSp>
        <p:nvCxnSpPr>
          <p:cNvPr id="115" name="Прямая соединительная линия 114"/>
          <p:cNvCxnSpPr/>
          <p:nvPr/>
        </p:nvCxnSpPr>
        <p:spPr>
          <a:xfrm>
            <a:off x="10251476" y="3684521"/>
            <a:ext cx="0" cy="589549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Прямоугольник 116"/>
          <p:cNvSpPr/>
          <p:nvPr/>
        </p:nvSpPr>
        <p:spPr>
          <a:xfrm>
            <a:off x="8758783" y="4542253"/>
            <a:ext cx="1492693" cy="168205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умма гарантии</a:t>
            </a:r>
          </a:p>
        </p:txBody>
      </p:sp>
      <p:sp>
        <p:nvSpPr>
          <p:cNvPr id="118" name="Прямоугольник 117"/>
          <p:cNvSpPr/>
          <p:nvPr/>
        </p:nvSpPr>
        <p:spPr>
          <a:xfrm>
            <a:off x="10251476" y="4532148"/>
            <a:ext cx="2003227" cy="168205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до 50%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от суммы кредита </a:t>
            </a:r>
            <a:endParaRPr lang="ru-RU" sz="1200" kern="0" dirty="0" smtClean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до </a:t>
            </a: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70%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 рамках продуктов для участников государственных и муниципальных закупок и в рамках продукта «</a:t>
            </a:r>
            <a:r>
              <a:rPr lang="ru-RU" sz="1200" kern="0" dirty="0" err="1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огарантия</a:t>
            </a: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»</a:t>
            </a: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</p:txBody>
      </p:sp>
      <p:cxnSp>
        <p:nvCxnSpPr>
          <p:cNvPr id="119" name="Прямая соединительная линия 118"/>
          <p:cNvCxnSpPr/>
          <p:nvPr/>
        </p:nvCxnSpPr>
        <p:spPr>
          <a:xfrm>
            <a:off x="10251476" y="4532148"/>
            <a:ext cx="0" cy="1682053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Прямоугольник 120"/>
          <p:cNvSpPr/>
          <p:nvPr/>
        </p:nvSpPr>
        <p:spPr>
          <a:xfrm>
            <a:off x="8758783" y="6481259"/>
            <a:ext cx="1492693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ctr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Обеспечение</a:t>
            </a:r>
          </a:p>
        </p:txBody>
      </p:sp>
      <p:sp>
        <p:nvSpPr>
          <p:cNvPr id="122" name="Прямоугольник 121"/>
          <p:cNvSpPr/>
          <p:nvPr/>
        </p:nvSpPr>
        <p:spPr>
          <a:xfrm>
            <a:off x="10251476" y="6478840"/>
            <a:ext cx="2003227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не требуется</a:t>
            </a:r>
          </a:p>
        </p:txBody>
      </p:sp>
      <p:cxnSp>
        <p:nvCxnSpPr>
          <p:cNvPr id="123" name="Прямая соединительная линия 122"/>
          <p:cNvCxnSpPr/>
          <p:nvPr/>
        </p:nvCxnSpPr>
        <p:spPr>
          <a:xfrm>
            <a:off x="10251476" y="6478840"/>
            <a:ext cx="0" cy="402670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5" name="Группа 124"/>
          <p:cNvGrpSpPr/>
          <p:nvPr/>
        </p:nvGrpSpPr>
        <p:grpSpPr>
          <a:xfrm>
            <a:off x="8957035" y="7262725"/>
            <a:ext cx="431915" cy="461665"/>
            <a:chOff x="200025" y="5799115"/>
            <a:chExt cx="475107" cy="507831"/>
          </a:xfrm>
        </p:grpSpPr>
        <p:sp>
          <p:nvSpPr>
            <p:cNvPr id="126" name="Равнобедренный треугольник 125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>
                <a:solidFill>
                  <a:srgbClr val="00A1DE"/>
                </a:solidFill>
              </a:endParaRPr>
            </a:p>
          </p:txBody>
        </p:sp>
        <p:sp>
          <p:nvSpPr>
            <p:cNvPr id="127" name="Прямоугольник 126"/>
            <p:cNvSpPr/>
            <p:nvPr/>
          </p:nvSpPr>
          <p:spPr>
            <a:xfrm>
              <a:off x="270234" y="5799115"/>
              <a:ext cx="296589" cy="507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 smtClean="0">
                  <a:solidFill>
                    <a:srgbClr val="1F4E79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1F4E79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cxnSp>
        <p:nvCxnSpPr>
          <p:cNvPr id="4" name="Прямая соединительная линия 3"/>
          <p:cNvCxnSpPr/>
          <p:nvPr/>
        </p:nvCxnSpPr>
        <p:spPr>
          <a:xfrm>
            <a:off x="3573517" y="2495407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/>
        </p:nvCxnSpPr>
        <p:spPr>
          <a:xfrm>
            <a:off x="3573517" y="3504235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>
            <a:off x="3573517" y="4599697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>
            <a:off x="3573517" y="5695159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/>
        </p:nvCxnSpPr>
        <p:spPr>
          <a:xfrm>
            <a:off x="3573517" y="6990745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Прямоугольник 54"/>
          <p:cNvSpPr/>
          <p:nvPr/>
        </p:nvSpPr>
        <p:spPr>
          <a:xfrm>
            <a:off x="480603" y="2699220"/>
            <a:ext cx="73449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b="1" kern="0" dirty="0" smtClean="0"/>
              <a:t>ГОСЗАКАЗ</a:t>
            </a:r>
            <a:endParaRPr lang="ru-RU" sz="800" b="1" dirty="0"/>
          </a:p>
        </p:txBody>
      </p:sp>
      <p:sp>
        <p:nvSpPr>
          <p:cNvPr id="67" name="Прямоугольник 66"/>
          <p:cNvSpPr/>
          <p:nvPr/>
        </p:nvSpPr>
        <p:spPr>
          <a:xfrm>
            <a:off x="323751" y="6339465"/>
            <a:ext cx="1048200" cy="524186"/>
          </a:xfrm>
          <a:prstGeom prst="rect">
            <a:avLst/>
          </a:prstGeom>
          <a:noFill/>
        </p:spPr>
        <p:txBody>
          <a:bodyPr wrap="square" lIns="72000" tIns="0" rIns="36000" bIns="0" anchor="ctr">
            <a:noAutofit/>
          </a:bodyPr>
          <a:lstStyle/>
          <a:p>
            <a:pPr algn="ctr" defTabSz="957263">
              <a:lnSpc>
                <a:spcPct val="106000"/>
              </a:lnSpc>
              <a:spcBef>
                <a:spcPts val="1800"/>
              </a:spcBef>
            </a:pPr>
            <a:r>
              <a:rPr lang="ru-RU" sz="800" b="1" dirty="0" smtClean="0">
                <a:latin typeface="+mj-lt"/>
                <a:cs typeface="+mn-cs"/>
              </a:rPr>
              <a:t>КРЫМ И СЕВАСТОПОЛЬ</a:t>
            </a:r>
          </a:p>
        </p:txBody>
      </p:sp>
      <p:sp>
        <p:nvSpPr>
          <p:cNvPr id="68" name="Freeform 6"/>
          <p:cNvSpPr>
            <a:spLocks noEditPoints="1"/>
          </p:cNvSpPr>
          <p:nvPr/>
        </p:nvSpPr>
        <p:spPr bwMode="auto">
          <a:xfrm>
            <a:off x="694615" y="5904931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cs typeface="Arial" pitchFamily="34" charset="0"/>
            </a:endParaRPr>
          </a:p>
        </p:txBody>
      </p:sp>
      <p:sp>
        <p:nvSpPr>
          <p:cNvPr id="81" name="Скругленный прямоугольник 80"/>
          <p:cNvSpPr/>
          <p:nvPr/>
        </p:nvSpPr>
        <p:spPr>
          <a:xfrm>
            <a:off x="622658" y="7678616"/>
            <a:ext cx="450386" cy="211265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105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93" name="Freeform 9"/>
          <p:cNvSpPr>
            <a:spLocks noEditPoints="1"/>
          </p:cNvSpPr>
          <p:nvPr/>
        </p:nvSpPr>
        <p:spPr bwMode="auto">
          <a:xfrm>
            <a:off x="594466" y="2923325"/>
            <a:ext cx="506770" cy="408169"/>
          </a:xfrm>
          <a:custGeom>
            <a:avLst/>
            <a:gdLst>
              <a:gd name="T0" fmla="*/ 308 w 445"/>
              <a:gd name="T1" fmla="*/ 41 h 358"/>
              <a:gd name="T2" fmla="*/ 288 w 445"/>
              <a:gd name="T3" fmla="*/ 12 h 358"/>
              <a:gd name="T4" fmla="*/ 183 w 445"/>
              <a:gd name="T5" fmla="*/ 31 h 358"/>
              <a:gd name="T6" fmla="*/ 89 w 445"/>
              <a:gd name="T7" fmla="*/ 49 h 358"/>
              <a:gd name="T8" fmla="*/ 34 w 445"/>
              <a:gd name="T9" fmla="*/ 158 h 358"/>
              <a:gd name="T10" fmla="*/ 223 w 445"/>
              <a:gd name="T11" fmla="*/ 355 h 358"/>
              <a:gd name="T12" fmla="*/ 239 w 445"/>
              <a:gd name="T13" fmla="*/ 354 h 358"/>
              <a:gd name="T14" fmla="*/ 68 w 445"/>
              <a:gd name="T15" fmla="*/ 193 h 358"/>
              <a:gd name="T16" fmla="*/ 72 w 445"/>
              <a:gd name="T17" fmla="*/ 102 h 358"/>
              <a:gd name="T18" fmla="*/ 175 w 445"/>
              <a:gd name="T19" fmla="*/ 53 h 358"/>
              <a:gd name="T20" fmla="*/ 252 w 445"/>
              <a:gd name="T21" fmla="*/ 35 h 358"/>
              <a:gd name="T22" fmla="*/ 271 w 445"/>
              <a:gd name="T23" fmla="*/ 48 h 358"/>
              <a:gd name="T24" fmla="*/ 227 w 445"/>
              <a:gd name="T25" fmla="*/ 72 h 358"/>
              <a:gd name="T26" fmla="*/ 159 w 445"/>
              <a:gd name="T27" fmla="*/ 95 h 358"/>
              <a:gd name="T28" fmla="*/ 131 w 445"/>
              <a:gd name="T29" fmla="*/ 144 h 358"/>
              <a:gd name="T30" fmla="*/ 234 w 445"/>
              <a:gd name="T31" fmla="*/ 153 h 358"/>
              <a:gd name="T32" fmla="*/ 357 w 445"/>
              <a:gd name="T33" fmla="*/ 256 h 358"/>
              <a:gd name="T34" fmla="*/ 364 w 445"/>
              <a:gd name="T35" fmla="*/ 237 h 358"/>
              <a:gd name="T36" fmla="*/ 220 w 445"/>
              <a:gd name="T37" fmla="*/ 132 h 358"/>
              <a:gd name="T38" fmla="*/ 143 w 445"/>
              <a:gd name="T39" fmla="*/ 121 h 358"/>
              <a:gd name="T40" fmla="*/ 230 w 445"/>
              <a:gd name="T41" fmla="*/ 96 h 358"/>
              <a:gd name="T42" fmla="*/ 305 w 445"/>
              <a:gd name="T43" fmla="*/ 63 h 358"/>
              <a:gd name="T44" fmla="*/ 390 w 445"/>
              <a:gd name="T45" fmla="*/ 111 h 358"/>
              <a:gd name="T46" fmla="*/ 360 w 445"/>
              <a:gd name="T47" fmla="*/ 205 h 358"/>
              <a:gd name="T48" fmla="*/ 378 w 445"/>
              <a:gd name="T49" fmla="*/ 217 h 358"/>
              <a:gd name="T50" fmla="*/ 407 w 445"/>
              <a:gd name="T51" fmla="*/ 97 h 358"/>
              <a:gd name="T52" fmla="*/ 85 w 445"/>
              <a:gd name="T53" fmla="*/ 40 h 358"/>
              <a:gd name="T54" fmla="*/ 73 w 445"/>
              <a:gd name="T55" fmla="*/ 21 h 358"/>
              <a:gd name="T56" fmla="*/ 13 w 445"/>
              <a:gd name="T57" fmla="*/ 160 h 358"/>
              <a:gd name="T58" fmla="*/ 24 w 445"/>
              <a:gd name="T59" fmla="*/ 149 h 358"/>
              <a:gd name="T60" fmla="*/ 443 w 445"/>
              <a:gd name="T61" fmla="*/ 95 h 358"/>
              <a:gd name="T62" fmla="*/ 314 w 445"/>
              <a:gd name="T63" fmla="*/ 16 h 358"/>
              <a:gd name="T64" fmla="*/ 422 w 445"/>
              <a:gd name="T65" fmla="*/ 102 h 358"/>
              <a:gd name="T66" fmla="*/ 436 w 445"/>
              <a:gd name="T67" fmla="*/ 109 h 358"/>
              <a:gd name="T68" fmla="*/ 249 w 445"/>
              <a:gd name="T69" fmla="*/ 188 h 358"/>
              <a:gd name="T70" fmla="*/ 234 w 445"/>
              <a:gd name="T71" fmla="*/ 205 h 358"/>
              <a:gd name="T72" fmla="*/ 336 w 445"/>
              <a:gd name="T73" fmla="*/ 292 h 358"/>
              <a:gd name="T74" fmla="*/ 344 w 445"/>
              <a:gd name="T75" fmla="*/ 272 h 358"/>
              <a:gd name="T76" fmla="*/ 217 w 445"/>
              <a:gd name="T77" fmla="*/ 214 h 358"/>
              <a:gd name="T78" fmla="*/ 202 w 445"/>
              <a:gd name="T79" fmla="*/ 231 h 358"/>
              <a:gd name="T80" fmla="*/ 308 w 445"/>
              <a:gd name="T81" fmla="*/ 318 h 358"/>
              <a:gd name="T82" fmla="*/ 315 w 445"/>
              <a:gd name="T83" fmla="*/ 299 h 358"/>
              <a:gd name="T84" fmla="*/ 180 w 445"/>
              <a:gd name="T85" fmla="*/ 237 h 358"/>
              <a:gd name="T86" fmla="*/ 166 w 445"/>
              <a:gd name="T87" fmla="*/ 254 h 358"/>
              <a:gd name="T88" fmla="*/ 273 w 445"/>
              <a:gd name="T89" fmla="*/ 340 h 358"/>
              <a:gd name="T90" fmla="*/ 280 w 445"/>
              <a:gd name="T91" fmla="*/ 321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45" h="358">
                <a:moveTo>
                  <a:pt x="361" y="57"/>
                </a:moveTo>
                <a:cubicBezTo>
                  <a:pt x="341" y="47"/>
                  <a:pt x="310" y="41"/>
                  <a:pt x="308" y="41"/>
                </a:cubicBezTo>
                <a:cubicBezTo>
                  <a:pt x="304" y="41"/>
                  <a:pt x="300" y="41"/>
                  <a:pt x="296" y="41"/>
                </a:cubicBezTo>
                <a:cubicBezTo>
                  <a:pt x="297" y="31"/>
                  <a:pt x="294" y="20"/>
                  <a:pt x="288" y="12"/>
                </a:cubicBezTo>
                <a:cubicBezTo>
                  <a:pt x="280" y="0"/>
                  <a:pt x="265" y="6"/>
                  <a:pt x="244" y="14"/>
                </a:cubicBezTo>
                <a:cubicBezTo>
                  <a:pt x="226" y="21"/>
                  <a:pt x="204" y="29"/>
                  <a:pt x="183" y="31"/>
                </a:cubicBezTo>
                <a:cubicBezTo>
                  <a:pt x="181" y="31"/>
                  <a:pt x="178" y="31"/>
                  <a:pt x="174" y="31"/>
                </a:cubicBezTo>
                <a:cubicBezTo>
                  <a:pt x="139" y="33"/>
                  <a:pt x="105" y="35"/>
                  <a:pt x="89" y="49"/>
                </a:cubicBezTo>
                <a:cubicBezTo>
                  <a:pt x="88" y="50"/>
                  <a:pt x="65" y="71"/>
                  <a:pt x="53" y="91"/>
                </a:cubicBezTo>
                <a:cubicBezTo>
                  <a:pt x="42" y="110"/>
                  <a:pt x="36" y="138"/>
                  <a:pt x="34" y="158"/>
                </a:cubicBezTo>
                <a:cubicBezTo>
                  <a:pt x="32" y="177"/>
                  <a:pt x="39" y="196"/>
                  <a:pt x="54" y="209"/>
                </a:cubicBezTo>
                <a:cubicBezTo>
                  <a:pt x="223" y="355"/>
                  <a:pt x="223" y="355"/>
                  <a:pt x="223" y="355"/>
                </a:cubicBezTo>
                <a:cubicBezTo>
                  <a:pt x="225" y="357"/>
                  <a:pt x="228" y="358"/>
                  <a:pt x="230" y="358"/>
                </a:cubicBezTo>
                <a:cubicBezTo>
                  <a:pt x="234" y="358"/>
                  <a:pt x="237" y="356"/>
                  <a:pt x="239" y="354"/>
                </a:cubicBezTo>
                <a:cubicBezTo>
                  <a:pt x="243" y="349"/>
                  <a:pt x="242" y="342"/>
                  <a:pt x="238" y="338"/>
                </a:cubicBezTo>
                <a:cubicBezTo>
                  <a:pt x="68" y="193"/>
                  <a:pt x="68" y="193"/>
                  <a:pt x="68" y="193"/>
                </a:cubicBezTo>
                <a:cubicBezTo>
                  <a:pt x="59" y="185"/>
                  <a:pt x="55" y="173"/>
                  <a:pt x="56" y="161"/>
                </a:cubicBezTo>
                <a:cubicBezTo>
                  <a:pt x="59" y="135"/>
                  <a:pt x="65" y="115"/>
                  <a:pt x="72" y="102"/>
                </a:cubicBezTo>
                <a:cubicBezTo>
                  <a:pt x="82" y="85"/>
                  <a:pt x="104" y="66"/>
                  <a:pt x="104" y="66"/>
                </a:cubicBezTo>
                <a:cubicBezTo>
                  <a:pt x="115" y="56"/>
                  <a:pt x="154" y="54"/>
                  <a:pt x="175" y="53"/>
                </a:cubicBezTo>
                <a:cubicBezTo>
                  <a:pt x="179" y="53"/>
                  <a:pt x="182" y="53"/>
                  <a:pt x="184" y="53"/>
                </a:cubicBezTo>
                <a:cubicBezTo>
                  <a:pt x="209" y="51"/>
                  <a:pt x="234" y="42"/>
                  <a:pt x="252" y="35"/>
                </a:cubicBezTo>
                <a:cubicBezTo>
                  <a:pt x="259" y="32"/>
                  <a:pt x="267" y="29"/>
                  <a:pt x="272" y="27"/>
                </a:cubicBezTo>
                <a:cubicBezTo>
                  <a:pt x="275" y="34"/>
                  <a:pt x="274" y="43"/>
                  <a:pt x="271" y="48"/>
                </a:cubicBezTo>
                <a:cubicBezTo>
                  <a:pt x="271" y="48"/>
                  <a:pt x="271" y="49"/>
                  <a:pt x="270" y="49"/>
                </a:cubicBezTo>
                <a:cubicBezTo>
                  <a:pt x="257" y="55"/>
                  <a:pt x="242" y="63"/>
                  <a:pt x="227" y="72"/>
                </a:cubicBezTo>
                <a:cubicBezTo>
                  <a:pt x="219" y="76"/>
                  <a:pt x="219" y="76"/>
                  <a:pt x="219" y="76"/>
                </a:cubicBezTo>
                <a:cubicBezTo>
                  <a:pt x="201" y="87"/>
                  <a:pt x="178" y="91"/>
                  <a:pt x="159" y="95"/>
                </a:cubicBezTo>
                <a:cubicBezTo>
                  <a:pt x="137" y="99"/>
                  <a:pt x="121" y="102"/>
                  <a:pt x="120" y="117"/>
                </a:cubicBezTo>
                <a:cubicBezTo>
                  <a:pt x="120" y="128"/>
                  <a:pt x="124" y="138"/>
                  <a:pt x="131" y="144"/>
                </a:cubicBezTo>
                <a:cubicBezTo>
                  <a:pt x="152" y="163"/>
                  <a:pt x="196" y="158"/>
                  <a:pt x="223" y="154"/>
                </a:cubicBezTo>
                <a:cubicBezTo>
                  <a:pt x="227" y="154"/>
                  <a:pt x="231" y="153"/>
                  <a:pt x="234" y="153"/>
                </a:cubicBezTo>
                <a:cubicBezTo>
                  <a:pt x="251" y="168"/>
                  <a:pt x="325" y="233"/>
                  <a:pt x="350" y="254"/>
                </a:cubicBezTo>
                <a:cubicBezTo>
                  <a:pt x="352" y="256"/>
                  <a:pt x="354" y="256"/>
                  <a:pt x="357" y="256"/>
                </a:cubicBezTo>
                <a:cubicBezTo>
                  <a:pt x="360" y="256"/>
                  <a:pt x="363" y="255"/>
                  <a:pt x="365" y="253"/>
                </a:cubicBezTo>
                <a:cubicBezTo>
                  <a:pt x="369" y="248"/>
                  <a:pt x="369" y="241"/>
                  <a:pt x="364" y="237"/>
                </a:cubicBezTo>
                <a:cubicBezTo>
                  <a:pt x="319" y="198"/>
                  <a:pt x="251" y="139"/>
                  <a:pt x="247" y="135"/>
                </a:cubicBezTo>
                <a:cubicBezTo>
                  <a:pt x="242" y="129"/>
                  <a:pt x="236" y="130"/>
                  <a:pt x="220" y="132"/>
                </a:cubicBezTo>
                <a:cubicBezTo>
                  <a:pt x="200" y="135"/>
                  <a:pt x="159" y="140"/>
                  <a:pt x="146" y="128"/>
                </a:cubicBezTo>
                <a:cubicBezTo>
                  <a:pt x="145" y="127"/>
                  <a:pt x="143" y="125"/>
                  <a:pt x="143" y="121"/>
                </a:cubicBezTo>
                <a:cubicBezTo>
                  <a:pt x="147" y="120"/>
                  <a:pt x="156" y="118"/>
                  <a:pt x="163" y="117"/>
                </a:cubicBezTo>
                <a:cubicBezTo>
                  <a:pt x="182" y="113"/>
                  <a:pt x="208" y="108"/>
                  <a:pt x="230" y="96"/>
                </a:cubicBezTo>
                <a:cubicBezTo>
                  <a:pt x="232" y="94"/>
                  <a:pt x="235" y="93"/>
                  <a:pt x="238" y="91"/>
                </a:cubicBezTo>
                <a:cubicBezTo>
                  <a:pt x="256" y="81"/>
                  <a:pt x="290" y="61"/>
                  <a:pt x="305" y="63"/>
                </a:cubicBezTo>
                <a:cubicBezTo>
                  <a:pt x="305" y="63"/>
                  <a:pt x="334" y="68"/>
                  <a:pt x="352" y="77"/>
                </a:cubicBezTo>
                <a:cubicBezTo>
                  <a:pt x="363" y="83"/>
                  <a:pt x="376" y="95"/>
                  <a:pt x="390" y="111"/>
                </a:cubicBezTo>
                <a:cubicBezTo>
                  <a:pt x="401" y="123"/>
                  <a:pt x="402" y="140"/>
                  <a:pt x="394" y="152"/>
                </a:cubicBezTo>
                <a:cubicBezTo>
                  <a:pt x="360" y="205"/>
                  <a:pt x="360" y="205"/>
                  <a:pt x="360" y="205"/>
                </a:cubicBezTo>
                <a:cubicBezTo>
                  <a:pt x="356" y="210"/>
                  <a:pt x="358" y="217"/>
                  <a:pt x="363" y="220"/>
                </a:cubicBezTo>
                <a:cubicBezTo>
                  <a:pt x="368" y="223"/>
                  <a:pt x="375" y="222"/>
                  <a:pt x="378" y="217"/>
                </a:cubicBezTo>
                <a:cubicBezTo>
                  <a:pt x="412" y="164"/>
                  <a:pt x="412" y="164"/>
                  <a:pt x="412" y="164"/>
                </a:cubicBezTo>
                <a:cubicBezTo>
                  <a:pt x="426" y="143"/>
                  <a:pt x="424" y="116"/>
                  <a:pt x="407" y="97"/>
                </a:cubicBezTo>
                <a:cubicBezTo>
                  <a:pt x="391" y="78"/>
                  <a:pt x="375" y="64"/>
                  <a:pt x="361" y="57"/>
                </a:cubicBezTo>
                <a:close/>
                <a:moveTo>
                  <a:pt x="85" y="40"/>
                </a:moveTo>
                <a:cubicBezTo>
                  <a:pt x="90" y="36"/>
                  <a:pt x="92" y="29"/>
                  <a:pt x="88" y="24"/>
                </a:cubicBezTo>
                <a:cubicBezTo>
                  <a:pt x="85" y="19"/>
                  <a:pt x="78" y="18"/>
                  <a:pt x="73" y="21"/>
                </a:cubicBezTo>
                <a:cubicBezTo>
                  <a:pt x="38" y="44"/>
                  <a:pt x="0" y="105"/>
                  <a:pt x="2" y="150"/>
                </a:cubicBezTo>
                <a:cubicBezTo>
                  <a:pt x="2" y="156"/>
                  <a:pt x="7" y="160"/>
                  <a:pt x="13" y="160"/>
                </a:cubicBezTo>
                <a:cubicBezTo>
                  <a:pt x="13" y="160"/>
                  <a:pt x="13" y="160"/>
                  <a:pt x="13" y="160"/>
                </a:cubicBezTo>
                <a:cubicBezTo>
                  <a:pt x="19" y="160"/>
                  <a:pt x="24" y="155"/>
                  <a:pt x="24" y="149"/>
                </a:cubicBezTo>
                <a:cubicBezTo>
                  <a:pt x="22" y="113"/>
                  <a:pt x="56" y="59"/>
                  <a:pt x="85" y="40"/>
                </a:cubicBezTo>
                <a:close/>
                <a:moveTo>
                  <a:pt x="443" y="95"/>
                </a:moveTo>
                <a:cubicBezTo>
                  <a:pt x="428" y="51"/>
                  <a:pt x="366" y="16"/>
                  <a:pt x="327" y="8"/>
                </a:cubicBezTo>
                <a:cubicBezTo>
                  <a:pt x="321" y="7"/>
                  <a:pt x="316" y="10"/>
                  <a:pt x="314" y="16"/>
                </a:cubicBezTo>
                <a:cubicBezTo>
                  <a:pt x="313" y="22"/>
                  <a:pt x="317" y="28"/>
                  <a:pt x="323" y="30"/>
                </a:cubicBezTo>
                <a:cubicBezTo>
                  <a:pt x="357" y="37"/>
                  <a:pt x="411" y="68"/>
                  <a:pt x="422" y="102"/>
                </a:cubicBezTo>
                <a:cubicBezTo>
                  <a:pt x="424" y="106"/>
                  <a:pt x="428" y="109"/>
                  <a:pt x="433" y="109"/>
                </a:cubicBezTo>
                <a:cubicBezTo>
                  <a:pt x="434" y="109"/>
                  <a:pt x="435" y="109"/>
                  <a:pt x="436" y="109"/>
                </a:cubicBezTo>
                <a:cubicBezTo>
                  <a:pt x="442" y="107"/>
                  <a:pt x="445" y="100"/>
                  <a:pt x="443" y="95"/>
                </a:cubicBezTo>
                <a:close/>
                <a:moveTo>
                  <a:pt x="249" y="188"/>
                </a:moveTo>
                <a:cubicBezTo>
                  <a:pt x="244" y="184"/>
                  <a:pt x="237" y="184"/>
                  <a:pt x="233" y="189"/>
                </a:cubicBezTo>
                <a:cubicBezTo>
                  <a:pt x="229" y="194"/>
                  <a:pt x="229" y="201"/>
                  <a:pt x="234" y="205"/>
                </a:cubicBezTo>
                <a:cubicBezTo>
                  <a:pt x="329" y="289"/>
                  <a:pt x="329" y="289"/>
                  <a:pt x="329" y="289"/>
                </a:cubicBezTo>
                <a:cubicBezTo>
                  <a:pt x="331" y="291"/>
                  <a:pt x="334" y="292"/>
                  <a:pt x="336" y="292"/>
                </a:cubicBezTo>
                <a:cubicBezTo>
                  <a:pt x="339" y="292"/>
                  <a:pt x="343" y="290"/>
                  <a:pt x="345" y="288"/>
                </a:cubicBezTo>
                <a:cubicBezTo>
                  <a:pt x="349" y="283"/>
                  <a:pt x="348" y="276"/>
                  <a:pt x="344" y="272"/>
                </a:cubicBezTo>
                <a:lnTo>
                  <a:pt x="249" y="188"/>
                </a:lnTo>
                <a:close/>
                <a:moveTo>
                  <a:pt x="217" y="214"/>
                </a:moveTo>
                <a:cubicBezTo>
                  <a:pt x="212" y="210"/>
                  <a:pt x="205" y="210"/>
                  <a:pt x="201" y="215"/>
                </a:cubicBezTo>
                <a:cubicBezTo>
                  <a:pt x="197" y="220"/>
                  <a:pt x="198" y="227"/>
                  <a:pt x="202" y="231"/>
                </a:cubicBezTo>
                <a:cubicBezTo>
                  <a:pt x="301" y="315"/>
                  <a:pt x="301" y="315"/>
                  <a:pt x="301" y="315"/>
                </a:cubicBezTo>
                <a:cubicBezTo>
                  <a:pt x="303" y="317"/>
                  <a:pt x="306" y="318"/>
                  <a:pt x="308" y="318"/>
                </a:cubicBezTo>
                <a:cubicBezTo>
                  <a:pt x="311" y="318"/>
                  <a:pt x="314" y="317"/>
                  <a:pt x="316" y="314"/>
                </a:cubicBezTo>
                <a:cubicBezTo>
                  <a:pt x="320" y="310"/>
                  <a:pt x="320" y="303"/>
                  <a:pt x="315" y="299"/>
                </a:cubicBezTo>
                <a:lnTo>
                  <a:pt x="217" y="214"/>
                </a:lnTo>
                <a:close/>
                <a:moveTo>
                  <a:pt x="180" y="237"/>
                </a:moveTo>
                <a:cubicBezTo>
                  <a:pt x="175" y="233"/>
                  <a:pt x="168" y="233"/>
                  <a:pt x="165" y="238"/>
                </a:cubicBezTo>
                <a:cubicBezTo>
                  <a:pt x="161" y="243"/>
                  <a:pt x="161" y="250"/>
                  <a:pt x="166" y="254"/>
                </a:cubicBezTo>
                <a:cubicBezTo>
                  <a:pt x="266" y="338"/>
                  <a:pt x="266" y="338"/>
                  <a:pt x="266" y="338"/>
                </a:cubicBezTo>
                <a:cubicBezTo>
                  <a:pt x="268" y="339"/>
                  <a:pt x="270" y="340"/>
                  <a:pt x="273" y="340"/>
                </a:cubicBezTo>
                <a:cubicBezTo>
                  <a:pt x="276" y="340"/>
                  <a:pt x="279" y="339"/>
                  <a:pt x="281" y="336"/>
                </a:cubicBezTo>
                <a:cubicBezTo>
                  <a:pt x="285" y="332"/>
                  <a:pt x="285" y="325"/>
                  <a:pt x="280" y="321"/>
                </a:cubicBezTo>
                <a:lnTo>
                  <a:pt x="180" y="2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cs typeface="Arial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490" y="3761378"/>
            <a:ext cx="602722" cy="602722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308" y="1647889"/>
            <a:ext cx="855087" cy="855087"/>
          </a:xfrm>
          <a:prstGeom prst="rect">
            <a:avLst/>
          </a:prstGeom>
        </p:spPr>
      </p:pic>
      <p:pic>
        <p:nvPicPr>
          <p:cNvPr id="94" name="Рисунок 9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994" y="7131692"/>
            <a:ext cx="569715" cy="545027"/>
          </a:xfrm>
          <a:prstGeom prst="rect">
            <a:avLst/>
          </a:prstGeom>
        </p:spPr>
      </p:pic>
      <p:grpSp>
        <p:nvGrpSpPr>
          <p:cNvPr id="95" name="Группа 94"/>
          <p:cNvGrpSpPr/>
          <p:nvPr/>
        </p:nvGrpSpPr>
        <p:grpSpPr>
          <a:xfrm>
            <a:off x="533242" y="4826852"/>
            <a:ext cx="629218" cy="741214"/>
            <a:chOff x="504944" y="4355696"/>
            <a:chExt cx="629218" cy="741214"/>
          </a:xfrm>
        </p:grpSpPr>
        <p:pic>
          <p:nvPicPr>
            <p:cNvPr id="96" name="Рисунок 9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97" name="Group 629"/>
            <p:cNvGrpSpPr/>
            <p:nvPr/>
          </p:nvGrpSpPr>
          <p:grpSpPr>
            <a:xfrm>
              <a:off x="657827" y="4451539"/>
              <a:ext cx="346502" cy="467601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99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cs typeface="Arial" pitchFamily="34" charset="0"/>
                </a:endParaRPr>
              </a:p>
            </p:txBody>
          </p:sp>
          <p:sp>
            <p:nvSpPr>
              <p:cNvPr id="100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cs typeface="Arial" pitchFamily="34" charset="0"/>
                </a:endParaRPr>
              </a:p>
            </p:txBody>
          </p:sp>
        </p:grpSp>
        <p:sp>
          <p:nvSpPr>
            <p:cNvPr id="98" name="Прямоугольник 97"/>
            <p:cNvSpPr/>
            <p:nvPr/>
          </p:nvSpPr>
          <p:spPr>
            <a:xfrm>
              <a:off x="539127" y="4881466"/>
              <a:ext cx="59503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" b="1" kern="0" dirty="0" smtClean="0"/>
                <a:t>КРЕДИТ</a:t>
              </a:r>
              <a:endParaRPr lang="ru-RU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345876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heme/theme1.xml><?xml version="1.0" encoding="utf-8"?>
<a:theme xmlns:a="http://schemas.openxmlformats.org/drawingml/2006/main" name="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7674</TotalTime>
  <Words>2231</Words>
  <Application>Microsoft Office PowerPoint</Application>
  <PresentationFormat>Произвольный</PresentationFormat>
  <Paragraphs>345</Paragraphs>
  <Slides>16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17" baseType="lpstr">
      <vt:lpstr>Title</vt:lpstr>
      <vt:lpstr>Финансовая поддержка субъектов МСП</vt:lpstr>
      <vt:lpstr>О Корпорации. Основные задачи </vt:lpstr>
      <vt:lpstr>Базовые общие требования к потенциальному заемщику</vt:lpstr>
      <vt:lpstr>1. Механизм гарантийной поддержки корпорации  Предоставление независимых гарантий корпорации для обеспечения кредитов субъектов мсп в банках-партнерах</vt:lpstr>
      <vt:lpstr>Корпорация в цифрах гарантийной поддержки (на 12.05.16)</vt:lpstr>
      <vt:lpstr>Многоканальная система продвижения гарантийных продуктов НГС: Трехуровневая модель гарантийной поддержки субъектов МСП</vt:lpstr>
      <vt:lpstr>Что такое независимая гарантия Корпорации?</vt:lpstr>
      <vt:lpstr>Преимущества независимой гарантии Корпорации для субъекта МСП</vt:lpstr>
      <vt:lpstr>Продуктовая гарантийная линейка Корпорации</vt:lpstr>
      <vt:lpstr>Технология предоставления гарантий – стандартная процедура</vt:lpstr>
      <vt:lpstr>Технология предоставления гарантий – «корпоративный канал»</vt:lpstr>
      <vt:lpstr>2. Программа стимулирования кредитования  субъектов малого и среднего предпринимательства  «ПРОГРАММА 6,5»</vt:lpstr>
      <vt:lpstr>Условия Программы 6,5 % и уполномоченные банки</vt:lpstr>
      <vt:lpstr>Условия Программы 6,5. Требования к проектам и заемщикам</vt:lpstr>
      <vt:lpstr>Порядок получения Уполномоченным банком кредитов Банка России</vt:lpstr>
      <vt:lpstr>Презентация PowerPoint</vt:lpstr>
    </vt:vector>
  </TitlesOfParts>
  <Company>Deloitte &amp; Touch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– Times New Roman 26pt Line spacing 26pt</dc:title>
  <dc:creator>ladmin</dc:creator>
  <cp:lastModifiedBy>Востриков Денис Викторович</cp:lastModifiedBy>
  <cp:revision>4318</cp:revision>
  <cp:lastPrinted>2013-08-18T11:38:26Z</cp:lastPrinted>
  <dcterms:created xsi:type="dcterms:W3CDTF">2010-08-23T12:41:44Z</dcterms:created>
  <dcterms:modified xsi:type="dcterms:W3CDTF">2016-06-07T11:14:33Z</dcterms:modified>
</cp:coreProperties>
</file>